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7"/>
  </p:notesMasterIdLst>
  <p:sldIdLst>
    <p:sldId id="2145707777" r:id="rId5"/>
    <p:sldId id="2145707779" r:id="rId6"/>
    <p:sldId id="2145707781" r:id="rId7"/>
    <p:sldId id="2145707780" r:id="rId8"/>
    <p:sldId id="2145707782" r:id="rId9"/>
    <p:sldId id="2145707787" r:id="rId10"/>
    <p:sldId id="2145707783" r:id="rId11"/>
    <p:sldId id="2145707785" r:id="rId12"/>
    <p:sldId id="2145707788" r:id="rId13"/>
    <p:sldId id="2145707789" r:id="rId14"/>
    <p:sldId id="2145707786" r:id="rId15"/>
    <p:sldId id="2145707790"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EC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87D76F0-2DD6-4443-92C9-F14CC91673F6}" v="1381" dt="2023-04-06T11:09:25.03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774" autoAdjust="0"/>
    <p:restoredTop sz="94694"/>
  </p:normalViewPr>
  <p:slideViewPr>
    <p:cSldViewPr snapToGrid="0">
      <p:cViewPr varScale="1">
        <p:scale>
          <a:sx n="107" d="100"/>
          <a:sy n="107" d="100"/>
        </p:scale>
        <p:origin x="184" y="4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EARS, Alex (ROYAL FREE LONDON NHS FOUNDATION TRUST)" userId="810312a1-6ff4-42e9-9777-8bf78e2164dd" providerId="ADAL" clId="{D3976EF9-007D-4B45-8CEE-E49E9621E82E}"/>
    <pc:docChg chg="custSel modSld">
      <pc:chgData name="MEARS, Alex (ROYAL FREE LONDON NHS FOUNDATION TRUST)" userId="810312a1-6ff4-42e9-9777-8bf78e2164dd" providerId="ADAL" clId="{D3976EF9-007D-4B45-8CEE-E49E9621E82E}" dt="2023-02-21T15:04:47.648" v="158" actId="20577"/>
      <pc:docMkLst>
        <pc:docMk/>
      </pc:docMkLst>
      <pc:sldChg chg="addSp delSp modSp mod">
        <pc:chgData name="MEARS, Alex (ROYAL FREE LONDON NHS FOUNDATION TRUST)" userId="810312a1-6ff4-42e9-9777-8bf78e2164dd" providerId="ADAL" clId="{D3976EF9-007D-4B45-8CEE-E49E9621E82E}" dt="2023-02-21T14:03:49.438" v="147" actId="20577"/>
        <pc:sldMkLst>
          <pc:docMk/>
          <pc:sldMk cId="3446716597" sldId="2145707783"/>
        </pc:sldMkLst>
        <pc:spChg chg="mod">
          <ac:chgData name="MEARS, Alex (ROYAL FREE LONDON NHS FOUNDATION TRUST)" userId="810312a1-6ff4-42e9-9777-8bf78e2164dd" providerId="ADAL" clId="{D3976EF9-007D-4B45-8CEE-E49E9621E82E}" dt="2023-02-21T14:03:49.438" v="147" actId="20577"/>
          <ac:spMkLst>
            <pc:docMk/>
            <pc:sldMk cId="3446716597" sldId="2145707783"/>
            <ac:spMk id="2" creationId="{19081D42-A251-4FF1-863E-B8067B1460E4}"/>
          </ac:spMkLst>
        </pc:spChg>
        <pc:spChg chg="add del mod">
          <ac:chgData name="MEARS, Alex (ROYAL FREE LONDON NHS FOUNDATION TRUST)" userId="810312a1-6ff4-42e9-9777-8bf78e2164dd" providerId="ADAL" clId="{D3976EF9-007D-4B45-8CEE-E49E9621E82E}" dt="2023-02-21T14:02:48.966" v="114" actId="14100"/>
          <ac:spMkLst>
            <pc:docMk/>
            <pc:sldMk cId="3446716597" sldId="2145707783"/>
            <ac:spMk id="3" creationId="{A388FB42-70A2-48A8-93C5-CE7457C36EC7}"/>
          </ac:spMkLst>
        </pc:spChg>
        <pc:spChg chg="del">
          <ac:chgData name="MEARS, Alex (ROYAL FREE LONDON NHS FOUNDATION TRUST)" userId="810312a1-6ff4-42e9-9777-8bf78e2164dd" providerId="ADAL" clId="{D3976EF9-007D-4B45-8CEE-E49E9621E82E}" dt="2023-02-21T14:01:52.627" v="106" actId="478"/>
          <ac:spMkLst>
            <pc:docMk/>
            <pc:sldMk cId="3446716597" sldId="2145707783"/>
            <ac:spMk id="4" creationId="{68BD3771-6557-4E38-AC71-FE795FE4320A}"/>
          </ac:spMkLst>
        </pc:spChg>
        <pc:spChg chg="mod">
          <ac:chgData name="MEARS, Alex (ROYAL FREE LONDON NHS FOUNDATION TRUST)" userId="810312a1-6ff4-42e9-9777-8bf78e2164dd" providerId="ADAL" clId="{D3976EF9-007D-4B45-8CEE-E49E9621E82E}" dt="2023-02-21T14:02:48.966" v="114" actId="14100"/>
          <ac:spMkLst>
            <pc:docMk/>
            <pc:sldMk cId="3446716597" sldId="2145707783"/>
            <ac:spMk id="5" creationId="{26E1E53F-753A-4BBF-B804-2457FB238B7C}"/>
          </ac:spMkLst>
        </pc:spChg>
        <pc:spChg chg="mod">
          <ac:chgData name="MEARS, Alex (ROYAL FREE LONDON NHS FOUNDATION TRUST)" userId="810312a1-6ff4-42e9-9777-8bf78e2164dd" providerId="ADAL" clId="{D3976EF9-007D-4B45-8CEE-E49E9621E82E}" dt="2023-02-21T14:02:48.966" v="114" actId="14100"/>
          <ac:spMkLst>
            <pc:docMk/>
            <pc:sldMk cId="3446716597" sldId="2145707783"/>
            <ac:spMk id="6" creationId="{0199E793-6590-425F-A852-D34830B1C724}"/>
          </ac:spMkLst>
        </pc:spChg>
        <pc:graphicFrameChg chg="add del mod">
          <ac:chgData name="MEARS, Alex (ROYAL FREE LONDON NHS FOUNDATION TRUST)" userId="810312a1-6ff4-42e9-9777-8bf78e2164dd" providerId="ADAL" clId="{D3976EF9-007D-4B45-8CEE-E49E9621E82E}" dt="2023-02-21T13:59:58.561" v="63" actId="12084"/>
          <ac:graphicFrameMkLst>
            <pc:docMk/>
            <pc:sldMk cId="3446716597" sldId="2145707783"/>
            <ac:graphicFrameMk id="7" creationId="{0B445646-E8A0-4CBB-95B7-24ED7F164501}"/>
          </ac:graphicFrameMkLst>
        </pc:graphicFrameChg>
      </pc:sldChg>
      <pc:sldChg chg="modSp mod">
        <pc:chgData name="MEARS, Alex (ROYAL FREE LONDON NHS FOUNDATION TRUST)" userId="810312a1-6ff4-42e9-9777-8bf78e2164dd" providerId="ADAL" clId="{D3976EF9-007D-4B45-8CEE-E49E9621E82E}" dt="2023-02-21T15:04:47.648" v="158" actId="20577"/>
        <pc:sldMkLst>
          <pc:docMk/>
          <pc:sldMk cId="3013912596" sldId="2145707785"/>
        </pc:sldMkLst>
        <pc:spChg chg="mod">
          <ac:chgData name="MEARS, Alex (ROYAL FREE LONDON NHS FOUNDATION TRUST)" userId="810312a1-6ff4-42e9-9777-8bf78e2164dd" providerId="ADAL" clId="{D3976EF9-007D-4B45-8CEE-E49E9621E82E}" dt="2023-02-21T15:04:47.648" v="158" actId="20577"/>
          <ac:spMkLst>
            <pc:docMk/>
            <pc:sldMk cId="3013912596" sldId="2145707785"/>
            <ac:spMk id="2" creationId="{1E5F5DE2-54B6-4C7B-84AA-D5BBFB1923B3}"/>
          </ac:spMkLst>
        </pc:spChg>
      </pc:sldChg>
    </pc:docChg>
  </pc:docChgLst>
  <pc:docChgLst>
    <pc:chgData name="MEARS, Alex (ROYAL FREE LONDON NHS FOUNDATION TRUST)" userId="810312a1-6ff4-42e9-9777-8bf78e2164dd" providerId="ADAL" clId="{874507BA-3CD7-48C2-AAD6-E4F998008335}"/>
    <pc:docChg chg="undo custSel addSld delSld modSld">
      <pc:chgData name="MEARS, Alex (ROYAL FREE LONDON NHS FOUNDATION TRUST)" userId="810312a1-6ff4-42e9-9777-8bf78e2164dd" providerId="ADAL" clId="{874507BA-3CD7-48C2-AAD6-E4F998008335}" dt="2023-02-28T14:02:54.073" v="2239" actId="1076"/>
      <pc:docMkLst>
        <pc:docMk/>
      </pc:docMkLst>
      <pc:sldChg chg="addSp modSp mod">
        <pc:chgData name="MEARS, Alex (ROYAL FREE LONDON NHS FOUNDATION TRUST)" userId="810312a1-6ff4-42e9-9777-8bf78e2164dd" providerId="ADAL" clId="{874507BA-3CD7-48C2-AAD6-E4F998008335}" dt="2023-02-28T14:02:54.073" v="2239" actId="1076"/>
        <pc:sldMkLst>
          <pc:docMk/>
          <pc:sldMk cId="1868356707" sldId="2145707777"/>
        </pc:sldMkLst>
        <pc:spChg chg="mod">
          <ac:chgData name="MEARS, Alex (ROYAL FREE LONDON NHS FOUNDATION TRUST)" userId="810312a1-6ff4-42e9-9777-8bf78e2164dd" providerId="ADAL" clId="{874507BA-3CD7-48C2-AAD6-E4F998008335}" dt="2023-02-28T14:02:48.300" v="2238" actId="20577"/>
          <ac:spMkLst>
            <pc:docMk/>
            <pc:sldMk cId="1868356707" sldId="2145707777"/>
            <ac:spMk id="2" creationId="{F4725097-7F60-4424-9376-70CAA325BE45}"/>
          </ac:spMkLst>
        </pc:spChg>
        <pc:spChg chg="mod">
          <ac:chgData name="MEARS, Alex (ROYAL FREE LONDON NHS FOUNDATION TRUST)" userId="810312a1-6ff4-42e9-9777-8bf78e2164dd" providerId="ADAL" clId="{874507BA-3CD7-48C2-AAD6-E4F998008335}" dt="2023-02-28T14:02:54.073" v="2239" actId="1076"/>
          <ac:spMkLst>
            <pc:docMk/>
            <pc:sldMk cId="1868356707" sldId="2145707777"/>
            <ac:spMk id="5" creationId="{9E6CAC2B-256F-487B-BFD4-E929D9E8093D}"/>
          </ac:spMkLst>
        </pc:spChg>
        <pc:picChg chg="add mod">
          <ac:chgData name="MEARS, Alex (ROYAL FREE LONDON NHS FOUNDATION TRUST)" userId="810312a1-6ff4-42e9-9777-8bf78e2164dd" providerId="ADAL" clId="{874507BA-3CD7-48C2-AAD6-E4F998008335}" dt="2023-02-28T10:46:07.024" v="2" actId="14100"/>
          <ac:picMkLst>
            <pc:docMk/>
            <pc:sldMk cId="1868356707" sldId="2145707777"/>
            <ac:picMk id="4" creationId="{0131D34D-744D-4AC7-A044-88AF0AE2395B}"/>
          </ac:picMkLst>
        </pc:picChg>
      </pc:sldChg>
      <pc:sldChg chg="modSp">
        <pc:chgData name="MEARS, Alex (ROYAL FREE LONDON NHS FOUNDATION TRUST)" userId="810312a1-6ff4-42e9-9777-8bf78e2164dd" providerId="ADAL" clId="{874507BA-3CD7-48C2-AAD6-E4F998008335}" dt="2023-02-28T13:09:25.892" v="199" actId="20577"/>
        <pc:sldMkLst>
          <pc:docMk/>
          <pc:sldMk cId="3299934417" sldId="2145707780"/>
        </pc:sldMkLst>
        <pc:graphicFrameChg chg="mod">
          <ac:chgData name="MEARS, Alex (ROYAL FREE LONDON NHS FOUNDATION TRUST)" userId="810312a1-6ff4-42e9-9777-8bf78e2164dd" providerId="ADAL" clId="{874507BA-3CD7-48C2-AAD6-E4F998008335}" dt="2023-02-28T13:09:25.892" v="199" actId="20577"/>
          <ac:graphicFrameMkLst>
            <pc:docMk/>
            <pc:sldMk cId="3299934417" sldId="2145707780"/>
            <ac:graphicFrameMk id="5" creationId="{9B291015-780B-4E9D-9381-9E74E47D4EA6}"/>
          </ac:graphicFrameMkLst>
        </pc:graphicFrameChg>
      </pc:sldChg>
      <pc:sldChg chg="modSp">
        <pc:chgData name="MEARS, Alex (ROYAL FREE LONDON NHS FOUNDATION TRUST)" userId="810312a1-6ff4-42e9-9777-8bf78e2164dd" providerId="ADAL" clId="{874507BA-3CD7-48C2-AAD6-E4F998008335}" dt="2023-02-28T13:25:30.008" v="430" actId="20577"/>
        <pc:sldMkLst>
          <pc:docMk/>
          <pc:sldMk cId="1032012555" sldId="2145707782"/>
        </pc:sldMkLst>
        <pc:graphicFrameChg chg="mod">
          <ac:chgData name="MEARS, Alex (ROYAL FREE LONDON NHS FOUNDATION TRUST)" userId="810312a1-6ff4-42e9-9777-8bf78e2164dd" providerId="ADAL" clId="{874507BA-3CD7-48C2-AAD6-E4F998008335}" dt="2023-02-28T13:25:30.008" v="430" actId="20577"/>
          <ac:graphicFrameMkLst>
            <pc:docMk/>
            <pc:sldMk cId="1032012555" sldId="2145707782"/>
            <ac:graphicFrameMk id="5" creationId="{83538A83-D953-420E-9659-F4A9AA6E99D4}"/>
          </ac:graphicFrameMkLst>
        </pc:graphicFrameChg>
      </pc:sldChg>
      <pc:sldChg chg="addSp delSp modSp mod">
        <pc:chgData name="MEARS, Alex (ROYAL FREE LONDON NHS FOUNDATION TRUST)" userId="810312a1-6ff4-42e9-9777-8bf78e2164dd" providerId="ADAL" clId="{874507BA-3CD7-48C2-AAD6-E4F998008335}" dt="2023-02-28T13:42:52.932" v="1947" actId="20577"/>
        <pc:sldMkLst>
          <pc:docMk/>
          <pc:sldMk cId="3446716597" sldId="2145707783"/>
        </pc:sldMkLst>
        <pc:spChg chg="mod">
          <ac:chgData name="MEARS, Alex (ROYAL FREE LONDON NHS FOUNDATION TRUST)" userId="810312a1-6ff4-42e9-9777-8bf78e2164dd" providerId="ADAL" clId="{874507BA-3CD7-48C2-AAD6-E4F998008335}" dt="2023-02-28T13:35:40.979" v="1004" actId="20577"/>
          <ac:spMkLst>
            <pc:docMk/>
            <pc:sldMk cId="3446716597" sldId="2145707783"/>
            <ac:spMk id="2" creationId="{19081D42-A251-4FF1-863E-B8067B1460E4}"/>
          </ac:spMkLst>
        </pc:spChg>
        <pc:spChg chg="del mod">
          <ac:chgData name="MEARS, Alex (ROYAL FREE LONDON NHS FOUNDATION TRUST)" userId="810312a1-6ff4-42e9-9777-8bf78e2164dd" providerId="ADAL" clId="{874507BA-3CD7-48C2-AAD6-E4F998008335}" dt="2023-02-28T13:34:30.511" v="978" actId="12084"/>
          <ac:spMkLst>
            <pc:docMk/>
            <pc:sldMk cId="3446716597" sldId="2145707783"/>
            <ac:spMk id="3" creationId="{A388FB42-70A2-48A8-93C5-CE7457C36EC7}"/>
          </ac:spMkLst>
        </pc:spChg>
        <pc:spChg chg="del">
          <ac:chgData name="MEARS, Alex (ROYAL FREE LONDON NHS FOUNDATION TRUST)" userId="810312a1-6ff4-42e9-9777-8bf78e2164dd" providerId="ADAL" clId="{874507BA-3CD7-48C2-AAD6-E4F998008335}" dt="2023-02-28T13:30:59.765" v="793" actId="478"/>
          <ac:spMkLst>
            <pc:docMk/>
            <pc:sldMk cId="3446716597" sldId="2145707783"/>
            <ac:spMk id="5" creationId="{26E1E53F-753A-4BBF-B804-2457FB238B7C}"/>
          </ac:spMkLst>
        </pc:spChg>
        <pc:spChg chg="del">
          <ac:chgData name="MEARS, Alex (ROYAL FREE LONDON NHS FOUNDATION TRUST)" userId="810312a1-6ff4-42e9-9777-8bf78e2164dd" providerId="ADAL" clId="{874507BA-3CD7-48C2-AAD6-E4F998008335}" dt="2023-02-28T13:31:00.835" v="794" actId="478"/>
          <ac:spMkLst>
            <pc:docMk/>
            <pc:sldMk cId="3446716597" sldId="2145707783"/>
            <ac:spMk id="6" creationId="{0199E793-6590-425F-A852-D34830B1C724}"/>
          </ac:spMkLst>
        </pc:spChg>
        <pc:spChg chg="add mod">
          <ac:chgData name="MEARS, Alex (ROYAL FREE LONDON NHS FOUNDATION TRUST)" userId="810312a1-6ff4-42e9-9777-8bf78e2164dd" providerId="ADAL" clId="{874507BA-3CD7-48C2-AAD6-E4F998008335}" dt="2023-02-28T13:35:09.613" v="990"/>
          <ac:spMkLst>
            <pc:docMk/>
            <pc:sldMk cId="3446716597" sldId="2145707783"/>
            <ac:spMk id="8" creationId="{88218084-A166-4000-B6DD-7B7C80338CC0}"/>
          </ac:spMkLst>
        </pc:spChg>
        <pc:spChg chg="add mod">
          <ac:chgData name="MEARS, Alex (ROYAL FREE LONDON NHS FOUNDATION TRUST)" userId="810312a1-6ff4-42e9-9777-8bf78e2164dd" providerId="ADAL" clId="{874507BA-3CD7-48C2-AAD6-E4F998008335}" dt="2023-02-28T13:35:09.613" v="990"/>
          <ac:spMkLst>
            <pc:docMk/>
            <pc:sldMk cId="3446716597" sldId="2145707783"/>
            <ac:spMk id="9" creationId="{271CF98D-AF10-4287-AF1C-125473BCBE63}"/>
          </ac:spMkLst>
        </pc:spChg>
        <pc:spChg chg="add del mod">
          <ac:chgData name="MEARS, Alex (ROYAL FREE LONDON NHS FOUNDATION TRUST)" userId="810312a1-6ff4-42e9-9777-8bf78e2164dd" providerId="ADAL" clId="{874507BA-3CD7-48C2-AAD6-E4F998008335}" dt="2023-02-28T13:35:32.085" v="997" actId="478"/>
          <ac:spMkLst>
            <pc:docMk/>
            <pc:sldMk cId="3446716597" sldId="2145707783"/>
            <ac:spMk id="10" creationId="{FD47D88C-0126-40D7-A9CF-6C4E7D52781C}"/>
          </ac:spMkLst>
        </pc:spChg>
        <pc:grpChg chg="add mod">
          <ac:chgData name="MEARS, Alex (ROYAL FREE LONDON NHS FOUNDATION TRUST)" userId="810312a1-6ff4-42e9-9777-8bf78e2164dd" providerId="ADAL" clId="{874507BA-3CD7-48C2-AAD6-E4F998008335}" dt="2023-02-28T13:35:09.613" v="990"/>
          <ac:grpSpMkLst>
            <pc:docMk/>
            <pc:sldMk cId="3446716597" sldId="2145707783"/>
            <ac:grpSpMk id="7" creationId="{48929A8A-D242-4946-8312-1CAA829A2D12}"/>
          </ac:grpSpMkLst>
        </pc:grpChg>
        <pc:graphicFrameChg chg="add mod">
          <ac:chgData name="MEARS, Alex (ROYAL FREE LONDON NHS FOUNDATION TRUST)" userId="810312a1-6ff4-42e9-9777-8bf78e2164dd" providerId="ADAL" clId="{874507BA-3CD7-48C2-AAD6-E4F998008335}" dt="2023-02-28T13:42:52.932" v="1947" actId="20577"/>
          <ac:graphicFrameMkLst>
            <pc:docMk/>
            <pc:sldMk cId="3446716597" sldId="2145707783"/>
            <ac:graphicFrameMk id="4" creationId="{F42C4767-B148-4B2A-9488-A5D4AF90488B}"/>
          </ac:graphicFrameMkLst>
        </pc:graphicFrameChg>
      </pc:sldChg>
      <pc:sldChg chg="del">
        <pc:chgData name="MEARS, Alex (ROYAL FREE LONDON NHS FOUNDATION TRUST)" userId="810312a1-6ff4-42e9-9777-8bf78e2164dd" providerId="ADAL" clId="{874507BA-3CD7-48C2-AAD6-E4F998008335}" dt="2023-02-28T12:50:57.163" v="20" actId="47"/>
        <pc:sldMkLst>
          <pc:docMk/>
          <pc:sldMk cId="2781711904" sldId="2145707784"/>
        </pc:sldMkLst>
      </pc:sldChg>
      <pc:sldChg chg="modSp mod">
        <pc:chgData name="MEARS, Alex (ROYAL FREE LONDON NHS FOUNDATION TRUST)" userId="810312a1-6ff4-42e9-9777-8bf78e2164dd" providerId="ADAL" clId="{874507BA-3CD7-48C2-AAD6-E4F998008335}" dt="2023-02-28T13:36:13.074" v="1014" actId="20577"/>
        <pc:sldMkLst>
          <pc:docMk/>
          <pc:sldMk cId="3013912596" sldId="2145707785"/>
        </pc:sldMkLst>
        <pc:spChg chg="mod">
          <ac:chgData name="MEARS, Alex (ROYAL FREE LONDON NHS FOUNDATION TRUST)" userId="810312a1-6ff4-42e9-9777-8bf78e2164dd" providerId="ADAL" clId="{874507BA-3CD7-48C2-AAD6-E4F998008335}" dt="2023-02-28T13:36:13.074" v="1014" actId="20577"/>
          <ac:spMkLst>
            <pc:docMk/>
            <pc:sldMk cId="3013912596" sldId="2145707785"/>
            <ac:spMk id="2" creationId="{1E5F5DE2-54B6-4C7B-84AA-D5BBFB1923B3}"/>
          </ac:spMkLst>
        </pc:spChg>
      </pc:sldChg>
      <pc:sldChg chg="addSp modSp mod chgLayout">
        <pc:chgData name="MEARS, Alex (ROYAL FREE LONDON NHS FOUNDATION TRUST)" userId="810312a1-6ff4-42e9-9777-8bf78e2164dd" providerId="ADAL" clId="{874507BA-3CD7-48C2-AAD6-E4F998008335}" dt="2023-02-28T13:42:15.091" v="1885" actId="20577"/>
        <pc:sldMkLst>
          <pc:docMk/>
          <pc:sldMk cId="2487786384" sldId="2145707786"/>
        </pc:sldMkLst>
        <pc:spChg chg="mod ord">
          <ac:chgData name="MEARS, Alex (ROYAL FREE LONDON NHS FOUNDATION TRUST)" userId="810312a1-6ff4-42e9-9777-8bf78e2164dd" providerId="ADAL" clId="{874507BA-3CD7-48C2-AAD6-E4F998008335}" dt="2023-02-28T13:36:50.368" v="1032" actId="700"/>
          <ac:spMkLst>
            <pc:docMk/>
            <pc:sldMk cId="2487786384" sldId="2145707786"/>
            <ac:spMk id="2" creationId="{9D2971C2-BAEF-4CB1-9DE8-36E85D9048CA}"/>
          </ac:spMkLst>
        </pc:spChg>
        <pc:spChg chg="add mod ord">
          <ac:chgData name="MEARS, Alex (ROYAL FREE LONDON NHS FOUNDATION TRUST)" userId="810312a1-6ff4-42e9-9777-8bf78e2164dd" providerId="ADAL" clId="{874507BA-3CD7-48C2-AAD6-E4F998008335}" dt="2023-02-28T13:42:15.091" v="1885" actId="20577"/>
          <ac:spMkLst>
            <pc:docMk/>
            <pc:sldMk cId="2487786384" sldId="2145707786"/>
            <ac:spMk id="3" creationId="{FBCEC2C1-8D97-4667-957F-382775B8175A}"/>
          </ac:spMkLst>
        </pc:spChg>
        <pc:spChg chg="mod ord">
          <ac:chgData name="MEARS, Alex (ROYAL FREE LONDON NHS FOUNDATION TRUST)" userId="810312a1-6ff4-42e9-9777-8bf78e2164dd" providerId="ADAL" clId="{874507BA-3CD7-48C2-AAD6-E4F998008335}" dt="2023-02-28T13:36:50.368" v="1032" actId="700"/>
          <ac:spMkLst>
            <pc:docMk/>
            <pc:sldMk cId="2487786384" sldId="2145707786"/>
            <ac:spMk id="4" creationId="{1BE5F484-7DFD-4E36-915A-F86CF8616CC8}"/>
          </ac:spMkLst>
        </pc:spChg>
      </pc:sldChg>
      <pc:sldChg chg="addSp delSp modSp new mod">
        <pc:chgData name="MEARS, Alex (ROYAL FREE LONDON NHS FOUNDATION TRUST)" userId="810312a1-6ff4-42e9-9777-8bf78e2164dd" providerId="ADAL" clId="{874507BA-3CD7-48C2-AAD6-E4F998008335}" dt="2023-02-28T13:54:10.191" v="2198" actId="20577"/>
        <pc:sldMkLst>
          <pc:docMk/>
          <pc:sldMk cId="3351837600" sldId="2145707787"/>
        </pc:sldMkLst>
        <pc:spChg chg="mod">
          <ac:chgData name="MEARS, Alex (ROYAL FREE LONDON NHS FOUNDATION TRUST)" userId="810312a1-6ff4-42e9-9777-8bf78e2164dd" providerId="ADAL" clId="{874507BA-3CD7-48C2-AAD6-E4F998008335}" dt="2023-02-28T13:08:31.473" v="35" actId="20577"/>
          <ac:spMkLst>
            <pc:docMk/>
            <pc:sldMk cId="3351837600" sldId="2145707787"/>
            <ac:spMk id="2" creationId="{25C7D75F-0845-46ED-83D3-BC726522F1DA}"/>
          </ac:spMkLst>
        </pc:spChg>
        <pc:spChg chg="del mod">
          <ac:chgData name="MEARS, Alex (ROYAL FREE LONDON NHS FOUNDATION TRUST)" userId="810312a1-6ff4-42e9-9777-8bf78e2164dd" providerId="ADAL" clId="{874507BA-3CD7-48C2-AAD6-E4F998008335}" dt="2023-02-28T13:44:06.943" v="1989" actId="12084"/>
          <ac:spMkLst>
            <pc:docMk/>
            <pc:sldMk cId="3351837600" sldId="2145707787"/>
            <ac:spMk id="3" creationId="{58EDE45F-C343-4B60-AAA9-5FBF3017A0CD}"/>
          </ac:spMkLst>
        </pc:spChg>
        <pc:spChg chg="add mod">
          <ac:chgData name="MEARS, Alex (ROYAL FREE LONDON NHS FOUNDATION TRUST)" userId="810312a1-6ff4-42e9-9777-8bf78e2164dd" providerId="ADAL" clId="{874507BA-3CD7-48C2-AAD6-E4F998008335}" dt="2023-02-28T13:54:10.191" v="2198" actId="20577"/>
          <ac:spMkLst>
            <pc:docMk/>
            <pc:sldMk cId="3351837600" sldId="2145707787"/>
            <ac:spMk id="7" creationId="{5BB73F3A-7C1F-4E45-99F4-5C1ADC293256}"/>
          </ac:spMkLst>
        </pc:spChg>
        <pc:graphicFrameChg chg="add mod modGraphic">
          <ac:chgData name="MEARS, Alex (ROYAL FREE LONDON NHS FOUNDATION TRUST)" userId="810312a1-6ff4-42e9-9777-8bf78e2164dd" providerId="ADAL" clId="{874507BA-3CD7-48C2-AAD6-E4F998008335}" dt="2023-02-28T13:53:10.966" v="2125" actId="14734"/>
          <ac:graphicFrameMkLst>
            <pc:docMk/>
            <pc:sldMk cId="3351837600" sldId="2145707787"/>
            <ac:graphicFrameMk id="5" creationId="{4E1919F0-7218-4F77-99D0-FC1AE5C5D643}"/>
          </ac:graphicFrameMkLst>
        </pc:graphicFrameChg>
        <pc:graphicFrameChg chg="add mod">
          <ac:chgData name="MEARS, Alex (ROYAL FREE LONDON NHS FOUNDATION TRUST)" userId="810312a1-6ff4-42e9-9777-8bf78e2164dd" providerId="ADAL" clId="{874507BA-3CD7-48C2-AAD6-E4F998008335}" dt="2023-02-28T13:49:44.365" v="2067" actId="20577"/>
          <ac:graphicFrameMkLst>
            <pc:docMk/>
            <pc:sldMk cId="3351837600" sldId="2145707787"/>
            <ac:graphicFrameMk id="6" creationId="{FC7B9BEF-0DDD-4060-84CC-7BE4C1EAF2AF}"/>
          </ac:graphicFrameMkLst>
        </pc:graphicFrameChg>
      </pc:sldChg>
      <pc:sldChg chg="add">
        <pc:chgData name="MEARS, Alex (ROYAL FREE LONDON NHS FOUNDATION TRUST)" userId="810312a1-6ff4-42e9-9777-8bf78e2164dd" providerId="ADAL" clId="{874507BA-3CD7-48C2-AAD6-E4F998008335}" dt="2023-02-28T13:36:08.655" v="1005" actId="2890"/>
        <pc:sldMkLst>
          <pc:docMk/>
          <pc:sldMk cId="3132505362" sldId="2145707788"/>
        </pc:sldMkLst>
      </pc:sldChg>
      <pc:sldChg chg="modSp add mod">
        <pc:chgData name="MEARS, Alex (ROYAL FREE LONDON NHS FOUNDATION TRUST)" userId="810312a1-6ff4-42e9-9777-8bf78e2164dd" providerId="ADAL" clId="{874507BA-3CD7-48C2-AAD6-E4F998008335}" dt="2023-02-28T13:36:38.004" v="1021" actId="20577"/>
        <pc:sldMkLst>
          <pc:docMk/>
          <pc:sldMk cId="3859748998" sldId="2145707789"/>
        </pc:sldMkLst>
        <pc:spChg chg="mod">
          <ac:chgData name="MEARS, Alex (ROYAL FREE LONDON NHS FOUNDATION TRUST)" userId="810312a1-6ff4-42e9-9777-8bf78e2164dd" providerId="ADAL" clId="{874507BA-3CD7-48C2-AAD6-E4F998008335}" dt="2023-02-28T13:36:38.004" v="1021" actId="20577"/>
          <ac:spMkLst>
            <pc:docMk/>
            <pc:sldMk cId="3859748998" sldId="2145707789"/>
            <ac:spMk id="2" creationId="{1E5F5DE2-54B6-4C7B-84AA-D5BBFB1923B3}"/>
          </ac:spMkLst>
        </pc:spChg>
      </pc:sldChg>
      <pc:sldChg chg="addSp delSp modSp new mod">
        <pc:chgData name="MEARS, Alex (ROYAL FREE LONDON NHS FOUNDATION TRUST)" userId="810312a1-6ff4-42e9-9777-8bf78e2164dd" providerId="ADAL" clId="{874507BA-3CD7-48C2-AAD6-E4F998008335}" dt="2023-02-28T13:54:22.663" v="2199" actId="14100"/>
        <pc:sldMkLst>
          <pc:docMk/>
          <pc:sldMk cId="1236393171" sldId="2145707790"/>
        </pc:sldMkLst>
        <pc:spChg chg="mod">
          <ac:chgData name="MEARS, Alex (ROYAL FREE LONDON NHS FOUNDATION TRUST)" userId="810312a1-6ff4-42e9-9777-8bf78e2164dd" providerId="ADAL" clId="{874507BA-3CD7-48C2-AAD6-E4F998008335}" dt="2023-02-28T13:43:26.066" v="1985" actId="20577"/>
          <ac:spMkLst>
            <pc:docMk/>
            <pc:sldMk cId="1236393171" sldId="2145707790"/>
            <ac:spMk id="2" creationId="{695C73C7-09D8-4FAC-AABF-E6600EA5961E}"/>
          </ac:spMkLst>
        </pc:spChg>
        <pc:spChg chg="del mod">
          <ac:chgData name="MEARS, Alex (ROYAL FREE LONDON NHS FOUNDATION TRUST)" userId="810312a1-6ff4-42e9-9777-8bf78e2164dd" providerId="ADAL" clId="{874507BA-3CD7-48C2-AAD6-E4F998008335}" dt="2023-02-28T13:43:45.775" v="1986" actId="12084"/>
          <ac:spMkLst>
            <pc:docMk/>
            <pc:sldMk cId="1236393171" sldId="2145707790"/>
            <ac:spMk id="3" creationId="{4DA26821-60C5-4072-9C20-F6F7839186BE}"/>
          </ac:spMkLst>
        </pc:spChg>
        <pc:graphicFrameChg chg="add mod">
          <ac:chgData name="MEARS, Alex (ROYAL FREE LONDON NHS FOUNDATION TRUST)" userId="810312a1-6ff4-42e9-9777-8bf78e2164dd" providerId="ADAL" clId="{874507BA-3CD7-48C2-AAD6-E4F998008335}" dt="2023-02-28T13:54:22.663" v="2199" actId="14100"/>
          <ac:graphicFrameMkLst>
            <pc:docMk/>
            <pc:sldMk cId="1236393171" sldId="2145707790"/>
            <ac:graphicFrameMk id="5" creationId="{315E531C-37A9-4648-9581-20E9C32A7834}"/>
          </ac:graphicFrameMkLst>
        </pc:graphicFrameChg>
      </pc:sldChg>
    </pc:docChg>
  </pc:docChgLst>
  <pc:docChgLst>
    <pc:chgData name="MEARS, Alex (ROYAL FREE LONDON NHS FOUNDATION TRUST)" userId="810312a1-6ff4-42e9-9777-8bf78e2164dd" providerId="ADAL" clId="{D434CEB1-CE7D-4577-8A70-F927CC24508F}"/>
    <pc:docChg chg="undo custSel modSld">
      <pc:chgData name="MEARS, Alex (ROYAL FREE LONDON NHS FOUNDATION TRUST)" userId="810312a1-6ff4-42e9-9777-8bf78e2164dd" providerId="ADAL" clId="{D434CEB1-CE7D-4577-8A70-F927CC24508F}" dt="2023-02-28T17:30:23.828" v="3856" actId="208"/>
      <pc:docMkLst>
        <pc:docMk/>
      </pc:docMkLst>
      <pc:sldChg chg="modSp mod">
        <pc:chgData name="MEARS, Alex (ROYAL FREE LONDON NHS FOUNDATION TRUST)" userId="810312a1-6ff4-42e9-9777-8bf78e2164dd" providerId="ADAL" clId="{D434CEB1-CE7D-4577-8A70-F927CC24508F}" dt="2023-02-28T17:30:23.828" v="3856" actId="208"/>
        <pc:sldMkLst>
          <pc:docMk/>
          <pc:sldMk cId="3001373896" sldId="2145707781"/>
        </pc:sldMkLst>
        <pc:spChg chg="mod">
          <ac:chgData name="MEARS, Alex (ROYAL FREE LONDON NHS FOUNDATION TRUST)" userId="810312a1-6ff4-42e9-9777-8bf78e2164dd" providerId="ADAL" clId="{D434CEB1-CE7D-4577-8A70-F927CC24508F}" dt="2023-02-28T17:30:23.828" v="3856" actId="208"/>
          <ac:spMkLst>
            <pc:docMk/>
            <pc:sldMk cId="3001373896" sldId="2145707781"/>
            <ac:spMk id="3" creationId="{EDBD3322-B48D-4948-A75D-619004C88D9A}"/>
          </ac:spMkLst>
        </pc:spChg>
      </pc:sldChg>
      <pc:sldChg chg="addSp delSp modSp mod">
        <pc:chgData name="MEARS, Alex (ROYAL FREE LONDON NHS FOUNDATION TRUST)" userId="810312a1-6ff4-42e9-9777-8bf78e2164dd" providerId="ADAL" clId="{D434CEB1-CE7D-4577-8A70-F927CC24508F}" dt="2023-02-28T17:07:00.550" v="2947" actId="14100"/>
        <pc:sldMkLst>
          <pc:docMk/>
          <pc:sldMk cId="3013912596" sldId="2145707785"/>
        </pc:sldMkLst>
        <pc:spChg chg="del mod">
          <ac:chgData name="MEARS, Alex (ROYAL FREE LONDON NHS FOUNDATION TRUST)" userId="810312a1-6ff4-42e9-9777-8bf78e2164dd" providerId="ADAL" clId="{D434CEB1-CE7D-4577-8A70-F927CC24508F}" dt="2023-02-28T16:40:03.717" v="1436" actId="12084"/>
          <ac:spMkLst>
            <pc:docMk/>
            <pc:sldMk cId="3013912596" sldId="2145707785"/>
            <ac:spMk id="3" creationId="{FB37CE63-930F-4CBF-B41B-C74C1EF61ACC}"/>
          </ac:spMkLst>
        </pc:spChg>
        <pc:spChg chg="add del mod">
          <ac:chgData name="MEARS, Alex (ROYAL FREE LONDON NHS FOUNDATION TRUST)" userId="810312a1-6ff4-42e9-9777-8bf78e2164dd" providerId="ADAL" clId="{D434CEB1-CE7D-4577-8A70-F927CC24508F}" dt="2023-02-28T17:06:57.266" v="2946" actId="478"/>
          <ac:spMkLst>
            <pc:docMk/>
            <pc:sldMk cId="3013912596" sldId="2145707785"/>
            <ac:spMk id="6" creationId="{3DCF2FD6-8D72-40C8-8C2B-0A5A8F399EE2}"/>
          </ac:spMkLst>
        </pc:spChg>
        <pc:graphicFrameChg chg="add mod">
          <ac:chgData name="MEARS, Alex (ROYAL FREE LONDON NHS FOUNDATION TRUST)" userId="810312a1-6ff4-42e9-9777-8bf78e2164dd" providerId="ADAL" clId="{D434CEB1-CE7D-4577-8A70-F927CC24508F}" dt="2023-02-28T17:07:00.550" v="2947" actId="14100"/>
          <ac:graphicFrameMkLst>
            <pc:docMk/>
            <pc:sldMk cId="3013912596" sldId="2145707785"/>
            <ac:graphicFrameMk id="7" creationId="{7FC2FAB5-E6C1-40F3-AEE0-20CB9D5CDFB0}"/>
          </ac:graphicFrameMkLst>
        </pc:graphicFrameChg>
      </pc:sldChg>
      <pc:sldChg chg="addSp delSp modSp mod">
        <pc:chgData name="MEARS, Alex (ROYAL FREE LONDON NHS FOUNDATION TRUST)" userId="810312a1-6ff4-42e9-9777-8bf78e2164dd" providerId="ADAL" clId="{D434CEB1-CE7D-4577-8A70-F927CC24508F}" dt="2023-02-28T17:28:47.156" v="3855" actId="13782"/>
        <pc:sldMkLst>
          <pc:docMk/>
          <pc:sldMk cId="3132505362" sldId="2145707788"/>
        </pc:sldMkLst>
        <pc:spChg chg="del mod">
          <ac:chgData name="MEARS, Alex (ROYAL FREE LONDON NHS FOUNDATION TRUST)" userId="810312a1-6ff4-42e9-9777-8bf78e2164dd" providerId="ADAL" clId="{D434CEB1-CE7D-4577-8A70-F927CC24508F}" dt="2023-02-28T17:07:09.467" v="2948" actId="12084"/>
          <ac:spMkLst>
            <pc:docMk/>
            <pc:sldMk cId="3132505362" sldId="2145707788"/>
            <ac:spMk id="3" creationId="{FB37CE63-930F-4CBF-B41B-C74C1EF61ACC}"/>
          </ac:spMkLst>
        </pc:spChg>
        <pc:graphicFrameChg chg="add mod">
          <ac:chgData name="MEARS, Alex (ROYAL FREE LONDON NHS FOUNDATION TRUST)" userId="810312a1-6ff4-42e9-9777-8bf78e2164dd" providerId="ADAL" clId="{D434CEB1-CE7D-4577-8A70-F927CC24508F}" dt="2023-02-28T17:28:47.156" v="3855" actId="13782"/>
          <ac:graphicFrameMkLst>
            <pc:docMk/>
            <pc:sldMk cId="3132505362" sldId="2145707788"/>
            <ac:graphicFrameMk id="5" creationId="{FB32CF09-BB86-4C75-8952-96A92FD93409}"/>
          </ac:graphicFrameMkLst>
        </pc:graphicFrameChg>
      </pc:sldChg>
      <pc:sldChg chg="addSp delSp modSp mod">
        <pc:chgData name="MEARS, Alex (ROYAL FREE LONDON NHS FOUNDATION TRUST)" userId="810312a1-6ff4-42e9-9777-8bf78e2164dd" providerId="ADAL" clId="{D434CEB1-CE7D-4577-8A70-F927CC24508F}" dt="2023-02-28T17:27:42.908" v="3854" actId="404"/>
        <pc:sldMkLst>
          <pc:docMk/>
          <pc:sldMk cId="3859748998" sldId="2145707789"/>
        </pc:sldMkLst>
        <pc:spChg chg="del mod">
          <ac:chgData name="MEARS, Alex (ROYAL FREE LONDON NHS FOUNDATION TRUST)" userId="810312a1-6ff4-42e9-9777-8bf78e2164dd" providerId="ADAL" clId="{D434CEB1-CE7D-4577-8A70-F927CC24508F}" dt="2023-02-28T17:25:27.816" v="3847" actId="12084"/>
          <ac:spMkLst>
            <pc:docMk/>
            <pc:sldMk cId="3859748998" sldId="2145707789"/>
            <ac:spMk id="3" creationId="{FB37CE63-930F-4CBF-B41B-C74C1EF61ACC}"/>
          </ac:spMkLst>
        </pc:spChg>
        <pc:graphicFrameChg chg="add mod modGraphic">
          <ac:chgData name="MEARS, Alex (ROYAL FREE LONDON NHS FOUNDATION TRUST)" userId="810312a1-6ff4-42e9-9777-8bf78e2164dd" providerId="ADAL" clId="{D434CEB1-CE7D-4577-8A70-F927CC24508F}" dt="2023-02-28T17:27:42.908" v="3854" actId="404"/>
          <ac:graphicFrameMkLst>
            <pc:docMk/>
            <pc:sldMk cId="3859748998" sldId="2145707789"/>
            <ac:graphicFrameMk id="5" creationId="{032AE52D-17E9-453E-8202-083427ADE143}"/>
          </ac:graphicFrameMkLst>
        </pc:graphicFrameChg>
      </pc:sldChg>
    </pc:docChg>
  </pc:docChgLst>
  <pc:docChgLst>
    <pc:chgData name="MEARS, Alex (ROYAL FREE LONDON NHS FOUNDATION TRUST)" userId="810312a1-6ff4-42e9-9777-8bf78e2164dd" providerId="ADAL" clId="{A713DE47-31AA-4E5A-AE1A-98098ED6BD8B}"/>
    <pc:docChg chg="custSel addSld delSld modSld">
      <pc:chgData name="MEARS, Alex (ROYAL FREE LONDON NHS FOUNDATION TRUST)" userId="810312a1-6ff4-42e9-9777-8bf78e2164dd" providerId="ADAL" clId="{A713DE47-31AA-4E5A-AE1A-98098ED6BD8B}" dt="2023-02-28T16:12:45.126" v="150" actId="47"/>
      <pc:docMkLst>
        <pc:docMk/>
      </pc:docMkLst>
      <pc:sldChg chg="modSp">
        <pc:chgData name="MEARS, Alex (ROYAL FREE LONDON NHS FOUNDATION TRUST)" userId="810312a1-6ff4-42e9-9777-8bf78e2164dd" providerId="ADAL" clId="{A713DE47-31AA-4E5A-AE1A-98098ED6BD8B}" dt="2023-02-28T16:04:35.018" v="2" actId="20577"/>
        <pc:sldMkLst>
          <pc:docMk/>
          <pc:sldMk cId="3446716597" sldId="2145707783"/>
        </pc:sldMkLst>
        <pc:graphicFrameChg chg="mod">
          <ac:chgData name="MEARS, Alex (ROYAL FREE LONDON NHS FOUNDATION TRUST)" userId="810312a1-6ff4-42e9-9777-8bf78e2164dd" providerId="ADAL" clId="{A713DE47-31AA-4E5A-AE1A-98098ED6BD8B}" dt="2023-02-28T16:04:35.018" v="2" actId="20577"/>
          <ac:graphicFrameMkLst>
            <pc:docMk/>
            <pc:sldMk cId="3446716597" sldId="2145707783"/>
            <ac:graphicFrameMk id="4" creationId="{F42C4767-B148-4B2A-9488-A5D4AF90488B}"/>
          </ac:graphicFrameMkLst>
        </pc:graphicFrameChg>
      </pc:sldChg>
      <pc:sldChg chg="addSp delSp modSp mod">
        <pc:chgData name="MEARS, Alex (ROYAL FREE LONDON NHS FOUNDATION TRUST)" userId="810312a1-6ff4-42e9-9777-8bf78e2164dd" providerId="ADAL" clId="{A713DE47-31AA-4E5A-AE1A-98098ED6BD8B}" dt="2023-02-28T16:05:27.975" v="15" actId="27636"/>
        <pc:sldMkLst>
          <pc:docMk/>
          <pc:sldMk cId="2487786384" sldId="2145707786"/>
        </pc:sldMkLst>
        <pc:spChg chg="mod">
          <ac:chgData name="MEARS, Alex (ROYAL FREE LONDON NHS FOUNDATION TRUST)" userId="810312a1-6ff4-42e9-9777-8bf78e2164dd" providerId="ADAL" clId="{A713DE47-31AA-4E5A-AE1A-98098ED6BD8B}" dt="2023-02-28T16:05:27.975" v="15" actId="27636"/>
          <ac:spMkLst>
            <pc:docMk/>
            <pc:sldMk cId="2487786384" sldId="2145707786"/>
            <ac:spMk id="2" creationId="{9D2971C2-BAEF-4CB1-9DE8-36E85D9048CA}"/>
          </ac:spMkLst>
        </pc:spChg>
        <pc:spChg chg="del mod">
          <ac:chgData name="MEARS, Alex (ROYAL FREE LONDON NHS FOUNDATION TRUST)" userId="810312a1-6ff4-42e9-9777-8bf78e2164dd" providerId="ADAL" clId="{A713DE47-31AA-4E5A-AE1A-98098ED6BD8B}" dt="2023-02-28T16:05:21.254" v="9" actId="12084"/>
          <ac:spMkLst>
            <pc:docMk/>
            <pc:sldMk cId="2487786384" sldId="2145707786"/>
            <ac:spMk id="3" creationId="{FBCEC2C1-8D97-4667-957F-382775B8175A}"/>
          </ac:spMkLst>
        </pc:spChg>
        <pc:graphicFrameChg chg="add mod">
          <ac:chgData name="MEARS, Alex (ROYAL FREE LONDON NHS FOUNDATION TRUST)" userId="810312a1-6ff4-42e9-9777-8bf78e2164dd" providerId="ADAL" clId="{A713DE47-31AA-4E5A-AE1A-98098ED6BD8B}" dt="2023-02-28T16:05:21.254" v="9" actId="12084"/>
          <ac:graphicFrameMkLst>
            <pc:docMk/>
            <pc:sldMk cId="2487786384" sldId="2145707786"/>
            <ac:graphicFrameMk id="5" creationId="{43420894-C6AE-4216-857B-8FB1BA17CC4B}"/>
          </ac:graphicFrameMkLst>
        </pc:graphicFrameChg>
      </pc:sldChg>
      <pc:sldChg chg="modSp">
        <pc:chgData name="MEARS, Alex (ROYAL FREE LONDON NHS FOUNDATION TRUST)" userId="810312a1-6ff4-42e9-9777-8bf78e2164dd" providerId="ADAL" clId="{A713DE47-31AA-4E5A-AE1A-98098ED6BD8B}" dt="2023-02-28T16:12:22.559" v="149" actId="20577"/>
        <pc:sldMkLst>
          <pc:docMk/>
          <pc:sldMk cId="1236393171" sldId="2145707790"/>
        </pc:sldMkLst>
        <pc:graphicFrameChg chg="mod">
          <ac:chgData name="MEARS, Alex (ROYAL FREE LONDON NHS FOUNDATION TRUST)" userId="810312a1-6ff4-42e9-9777-8bf78e2164dd" providerId="ADAL" clId="{A713DE47-31AA-4E5A-AE1A-98098ED6BD8B}" dt="2023-02-28T16:12:22.559" v="149" actId="20577"/>
          <ac:graphicFrameMkLst>
            <pc:docMk/>
            <pc:sldMk cId="1236393171" sldId="2145707790"/>
            <ac:graphicFrameMk id="5" creationId="{315E531C-37A9-4648-9581-20E9C32A7834}"/>
          </ac:graphicFrameMkLst>
        </pc:graphicFrameChg>
      </pc:sldChg>
      <pc:sldChg chg="new del">
        <pc:chgData name="MEARS, Alex (ROYAL FREE LONDON NHS FOUNDATION TRUST)" userId="810312a1-6ff4-42e9-9777-8bf78e2164dd" providerId="ADAL" clId="{A713DE47-31AA-4E5A-AE1A-98098ED6BD8B}" dt="2023-02-28T16:12:45.126" v="150" actId="47"/>
        <pc:sldMkLst>
          <pc:docMk/>
          <pc:sldMk cId="2238970418" sldId="2145707791"/>
        </pc:sldMkLst>
      </pc:sldChg>
    </pc:docChg>
  </pc:docChgLst>
  <pc:docChgLst>
    <pc:chgData name="USHER, Adam (ROYAL FREE LONDON NHS FOUNDATION TRUST)" userId="f3ac24f3-5b9d-4495-9503-0cccd1d812f0" providerId="ADAL" clId="{887D76F0-2DD6-4443-92C9-F14CC91673F6}"/>
    <pc:docChg chg="custSel modSld">
      <pc:chgData name="USHER, Adam (ROYAL FREE LONDON NHS FOUNDATION TRUST)" userId="f3ac24f3-5b9d-4495-9503-0cccd1d812f0" providerId="ADAL" clId="{887D76F0-2DD6-4443-92C9-F14CC91673F6}" dt="2023-04-06T11:09:25.033" v="1484"/>
      <pc:docMkLst>
        <pc:docMk/>
      </pc:docMkLst>
      <pc:sldChg chg="addSp delSp modSp mod">
        <pc:chgData name="USHER, Adam (ROYAL FREE LONDON NHS FOUNDATION TRUST)" userId="f3ac24f3-5b9d-4495-9503-0cccd1d812f0" providerId="ADAL" clId="{887D76F0-2DD6-4443-92C9-F14CC91673F6}" dt="2023-04-06T10:57:13.880" v="682" actId="962"/>
        <pc:sldMkLst>
          <pc:docMk/>
          <pc:sldMk cId="1868356707" sldId="2145707777"/>
        </pc:sldMkLst>
        <pc:picChg chg="del">
          <ac:chgData name="USHER, Adam (ROYAL FREE LONDON NHS FOUNDATION TRUST)" userId="f3ac24f3-5b9d-4495-9503-0cccd1d812f0" providerId="ADAL" clId="{887D76F0-2DD6-4443-92C9-F14CC91673F6}" dt="2023-04-06T10:41:20.853" v="12" actId="478"/>
          <ac:picMkLst>
            <pc:docMk/>
            <pc:sldMk cId="1868356707" sldId="2145707777"/>
            <ac:picMk id="4" creationId="{0131D34D-744D-4AC7-A044-88AF0AE2395B}"/>
          </ac:picMkLst>
        </pc:picChg>
        <pc:picChg chg="add mod">
          <ac:chgData name="USHER, Adam (ROYAL FREE LONDON NHS FOUNDATION TRUST)" userId="f3ac24f3-5b9d-4495-9503-0cccd1d812f0" providerId="ADAL" clId="{887D76F0-2DD6-4443-92C9-F14CC91673F6}" dt="2023-04-06T10:57:13.880" v="682" actId="962"/>
          <ac:picMkLst>
            <pc:docMk/>
            <pc:sldMk cId="1868356707" sldId="2145707777"/>
            <ac:picMk id="6" creationId="{50266859-E58D-B728-792C-AA45F55084FD}"/>
          </ac:picMkLst>
        </pc:picChg>
      </pc:sldChg>
      <pc:sldChg chg="modSp">
        <pc:chgData name="USHER, Adam (ROYAL FREE LONDON NHS FOUNDATION TRUST)" userId="f3ac24f3-5b9d-4495-9503-0cccd1d812f0" providerId="ADAL" clId="{887D76F0-2DD6-4443-92C9-F14CC91673F6}" dt="2023-04-06T11:09:25.033" v="1484"/>
        <pc:sldMkLst>
          <pc:docMk/>
          <pc:sldMk cId="1768295218" sldId="2145707779"/>
        </pc:sldMkLst>
        <pc:graphicFrameChg chg="mod">
          <ac:chgData name="USHER, Adam (ROYAL FREE LONDON NHS FOUNDATION TRUST)" userId="f3ac24f3-5b9d-4495-9503-0cccd1d812f0" providerId="ADAL" clId="{887D76F0-2DD6-4443-92C9-F14CC91673F6}" dt="2023-04-06T11:09:25.033" v="1484"/>
          <ac:graphicFrameMkLst>
            <pc:docMk/>
            <pc:sldMk cId="1768295218" sldId="2145707779"/>
            <ac:graphicFrameMk id="2" creationId="{3770EAA8-342C-4260-ABE6-C5934B510BAC}"/>
          </ac:graphicFrameMkLst>
        </pc:graphicFrameChg>
      </pc:sldChg>
      <pc:sldChg chg="modSp">
        <pc:chgData name="USHER, Adam (ROYAL FREE LONDON NHS FOUNDATION TRUST)" userId="f3ac24f3-5b9d-4495-9503-0cccd1d812f0" providerId="ADAL" clId="{887D76F0-2DD6-4443-92C9-F14CC91673F6}" dt="2023-04-06T10:51:48.005" v="242" actId="962"/>
        <pc:sldMkLst>
          <pc:docMk/>
          <pc:sldMk cId="3299934417" sldId="2145707780"/>
        </pc:sldMkLst>
        <pc:graphicFrameChg chg="mod">
          <ac:chgData name="USHER, Adam (ROYAL FREE LONDON NHS FOUNDATION TRUST)" userId="f3ac24f3-5b9d-4495-9503-0cccd1d812f0" providerId="ADAL" clId="{887D76F0-2DD6-4443-92C9-F14CC91673F6}" dt="2023-04-06T10:51:48.005" v="242" actId="962"/>
          <ac:graphicFrameMkLst>
            <pc:docMk/>
            <pc:sldMk cId="3299934417" sldId="2145707780"/>
            <ac:graphicFrameMk id="5" creationId="{9B291015-780B-4E9D-9381-9E74E47D4EA6}"/>
          </ac:graphicFrameMkLst>
        </pc:graphicFrameChg>
      </pc:sldChg>
      <pc:sldChg chg="modSp">
        <pc:chgData name="USHER, Adam (ROYAL FREE LONDON NHS FOUNDATION TRUST)" userId="f3ac24f3-5b9d-4495-9503-0cccd1d812f0" providerId="ADAL" clId="{887D76F0-2DD6-4443-92C9-F14CC91673F6}" dt="2023-04-06T10:54:54.971" v="458" actId="962"/>
        <pc:sldMkLst>
          <pc:docMk/>
          <pc:sldMk cId="1032012555" sldId="2145707782"/>
        </pc:sldMkLst>
        <pc:graphicFrameChg chg="mod">
          <ac:chgData name="USHER, Adam (ROYAL FREE LONDON NHS FOUNDATION TRUST)" userId="f3ac24f3-5b9d-4495-9503-0cccd1d812f0" providerId="ADAL" clId="{887D76F0-2DD6-4443-92C9-F14CC91673F6}" dt="2023-04-06T10:54:54.971" v="458" actId="962"/>
          <ac:graphicFrameMkLst>
            <pc:docMk/>
            <pc:sldMk cId="1032012555" sldId="2145707782"/>
            <ac:graphicFrameMk id="5" creationId="{83538A83-D953-420E-9659-F4A9AA6E99D4}"/>
          </ac:graphicFrameMkLst>
        </pc:graphicFrameChg>
      </pc:sldChg>
      <pc:sldChg chg="modSp">
        <pc:chgData name="USHER, Adam (ROYAL FREE LONDON NHS FOUNDATION TRUST)" userId="f3ac24f3-5b9d-4495-9503-0cccd1d812f0" providerId="ADAL" clId="{887D76F0-2DD6-4443-92C9-F14CC91673F6}" dt="2023-04-06T10:59:04.514" v="863" actId="20577"/>
        <pc:sldMkLst>
          <pc:docMk/>
          <pc:sldMk cId="3446716597" sldId="2145707783"/>
        </pc:sldMkLst>
        <pc:graphicFrameChg chg="mod">
          <ac:chgData name="USHER, Adam (ROYAL FREE LONDON NHS FOUNDATION TRUST)" userId="f3ac24f3-5b9d-4495-9503-0cccd1d812f0" providerId="ADAL" clId="{887D76F0-2DD6-4443-92C9-F14CC91673F6}" dt="2023-04-06T10:59:04.514" v="863" actId="20577"/>
          <ac:graphicFrameMkLst>
            <pc:docMk/>
            <pc:sldMk cId="3446716597" sldId="2145707783"/>
            <ac:graphicFrameMk id="4" creationId="{F42C4767-B148-4B2A-9488-A5D4AF90488B}"/>
          </ac:graphicFrameMkLst>
        </pc:graphicFrameChg>
      </pc:sldChg>
      <pc:sldChg chg="modSp">
        <pc:chgData name="USHER, Adam (ROYAL FREE LONDON NHS FOUNDATION TRUST)" userId="f3ac24f3-5b9d-4495-9503-0cccd1d812f0" providerId="ADAL" clId="{887D76F0-2DD6-4443-92C9-F14CC91673F6}" dt="2023-04-06T11:01:34.306" v="1005" actId="962"/>
        <pc:sldMkLst>
          <pc:docMk/>
          <pc:sldMk cId="3013912596" sldId="2145707785"/>
        </pc:sldMkLst>
        <pc:graphicFrameChg chg="mod">
          <ac:chgData name="USHER, Adam (ROYAL FREE LONDON NHS FOUNDATION TRUST)" userId="f3ac24f3-5b9d-4495-9503-0cccd1d812f0" providerId="ADAL" clId="{887D76F0-2DD6-4443-92C9-F14CC91673F6}" dt="2023-04-06T11:01:34.306" v="1005" actId="962"/>
          <ac:graphicFrameMkLst>
            <pc:docMk/>
            <pc:sldMk cId="3013912596" sldId="2145707785"/>
            <ac:graphicFrameMk id="7" creationId="{7FC2FAB5-E6C1-40F3-AEE0-20CB9D5CDFB0}"/>
          </ac:graphicFrameMkLst>
        </pc:graphicFrameChg>
      </pc:sldChg>
      <pc:sldChg chg="modSp">
        <pc:chgData name="USHER, Adam (ROYAL FREE LONDON NHS FOUNDATION TRUST)" userId="f3ac24f3-5b9d-4495-9503-0cccd1d812f0" providerId="ADAL" clId="{887D76F0-2DD6-4443-92C9-F14CC91673F6}" dt="2023-04-06T11:07:10.273" v="1385" actId="962"/>
        <pc:sldMkLst>
          <pc:docMk/>
          <pc:sldMk cId="2487786384" sldId="2145707786"/>
        </pc:sldMkLst>
        <pc:graphicFrameChg chg="mod">
          <ac:chgData name="USHER, Adam (ROYAL FREE LONDON NHS FOUNDATION TRUST)" userId="f3ac24f3-5b9d-4495-9503-0cccd1d812f0" providerId="ADAL" clId="{887D76F0-2DD6-4443-92C9-F14CC91673F6}" dt="2023-04-06T11:07:10.273" v="1385" actId="962"/>
          <ac:graphicFrameMkLst>
            <pc:docMk/>
            <pc:sldMk cId="2487786384" sldId="2145707786"/>
            <ac:graphicFrameMk id="5" creationId="{43420894-C6AE-4216-857B-8FB1BA17CC4B}"/>
          </ac:graphicFrameMkLst>
        </pc:graphicFrameChg>
      </pc:sldChg>
      <pc:sldChg chg="modSp">
        <pc:chgData name="USHER, Adam (ROYAL FREE LONDON NHS FOUNDATION TRUST)" userId="f3ac24f3-5b9d-4495-9503-0cccd1d812f0" providerId="ADAL" clId="{887D76F0-2DD6-4443-92C9-F14CC91673F6}" dt="2023-04-06T10:56:38.478" v="588" actId="962"/>
        <pc:sldMkLst>
          <pc:docMk/>
          <pc:sldMk cId="3351837600" sldId="2145707787"/>
        </pc:sldMkLst>
        <pc:graphicFrameChg chg="mod">
          <ac:chgData name="USHER, Adam (ROYAL FREE LONDON NHS FOUNDATION TRUST)" userId="f3ac24f3-5b9d-4495-9503-0cccd1d812f0" providerId="ADAL" clId="{887D76F0-2DD6-4443-92C9-F14CC91673F6}" dt="2023-04-06T10:56:38.478" v="588" actId="962"/>
          <ac:graphicFrameMkLst>
            <pc:docMk/>
            <pc:sldMk cId="3351837600" sldId="2145707787"/>
            <ac:graphicFrameMk id="6" creationId="{FC7B9BEF-0DDD-4060-84CC-7BE4C1EAF2AF}"/>
          </ac:graphicFrameMkLst>
        </pc:graphicFrameChg>
      </pc:sldChg>
      <pc:sldChg chg="modSp">
        <pc:chgData name="USHER, Adam (ROYAL FREE LONDON NHS FOUNDATION TRUST)" userId="f3ac24f3-5b9d-4495-9503-0cccd1d812f0" providerId="ADAL" clId="{887D76F0-2DD6-4443-92C9-F14CC91673F6}" dt="2023-04-06T11:04:49.928" v="1201" actId="962"/>
        <pc:sldMkLst>
          <pc:docMk/>
          <pc:sldMk cId="3132505362" sldId="2145707788"/>
        </pc:sldMkLst>
        <pc:graphicFrameChg chg="mod">
          <ac:chgData name="USHER, Adam (ROYAL FREE LONDON NHS FOUNDATION TRUST)" userId="f3ac24f3-5b9d-4495-9503-0cccd1d812f0" providerId="ADAL" clId="{887D76F0-2DD6-4443-92C9-F14CC91673F6}" dt="2023-04-06T11:04:49.928" v="1201" actId="962"/>
          <ac:graphicFrameMkLst>
            <pc:docMk/>
            <pc:sldMk cId="3132505362" sldId="2145707788"/>
            <ac:graphicFrameMk id="5" creationId="{FB32CF09-BB86-4C75-8952-96A92FD93409}"/>
          </ac:graphicFrameMkLst>
        </pc:graphicFrameChg>
      </pc:sldChg>
      <pc:sldChg chg="modSp">
        <pc:chgData name="USHER, Adam (ROYAL FREE LONDON NHS FOUNDATION TRUST)" userId="f3ac24f3-5b9d-4495-9503-0cccd1d812f0" providerId="ADAL" clId="{887D76F0-2DD6-4443-92C9-F14CC91673F6}" dt="2023-04-06T11:06:05.630" v="1287" actId="962"/>
        <pc:sldMkLst>
          <pc:docMk/>
          <pc:sldMk cId="3859748998" sldId="2145707789"/>
        </pc:sldMkLst>
        <pc:graphicFrameChg chg="mod">
          <ac:chgData name="USHER, Adam (ROYAL FREE LONDON NHS FOUNDATION TRUST)" userId="f3ac24f3-5b9d-4495-9503-0cccd1d812f0" providerId="ADAL" clId="{887D76F0-2DD6-4443-92C9-F14CC91673F6}" dt="2023-04-06T11:06:05.630" v="1287" actId="962"/>
          <ac:graphicFrameMkLst>
            <pc:docMk/>
            <pc:sldMk cId="3859748998" sldId="2145707789"/>
            <ac:graphicFrameMk id="5" creationId="{032AE52D-17E9-453E-8202-083427ADE143}"/>
          </ac:graphicFrameMkLst>
        </pc:graphicFrameChg>
      </pc:sldChg>
      <pc:sldChg chg="modSp">
        <pc:chgData name="USHER, Adam (ROYAL FREE LONDON NHS FOUNDATION TRUST)" userId="f3ac24f3-5b9d-4495-9503-0cccd1d812f0" providerId="ADAL" clId="{887D76F0-2DD6-4443-92C9-F14CC91673F6}" dt="2023-04-06T11:08:50.786" v="1481" actId="962"/>
        <pc:sldMkLst>
          <pc:docMk/>
          <pc:sldMk cId="1236393171" sldId="2145707790"/>
        </pc:sldMkLst>
        <pc:graphicFrameChg chg="mod">
          <ac:chgData name="USHER, Adam (ROYAL FREE LONDON NHS FOUNDATION TRUST)" userId="f3ac24f3-5b9d-4495-9503-0cccd1d812f0" providerId="ADAL" clId="{887D76F0-2DD6-4443-92C9-F14CC91673F6}" dt="2023-04-06T11:08:50.786" v="1481" actId="962"/>
          <ac:graphicFrameMkLst>
            <pc:docMk/>
            <pc:sldMk cId="1236393171" sldId="2145707790"/>
            <ac:graphicFrameMk id="5" creationId="{315E531C-37A9-4648-9581-20E9C32A7834}"/>
          </ac:graphicFrameMkLst>
        </pc:graphicFrame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53204AC-7B24-4043-9531-C76FC9860E97}" type="doc">
      <dgm:prSet loTypeId="urn:microsoft.com/office/officeart/2005/8/layout/default" loCatId="list" qsTypeId="urn:microsoft.com/office/officeart/2005/8/quickstyle/simple1" qsCatId="simple" csTypeId="urn:microsoft.com/office/officeart/2005/8/colors/accent1_4" csCatId="accent1" phldr="1"/>
      <dgm:spPr/>
      <dgm:t>
        <a:bodyPr/>
        <a:lstStyle/>
        <a:p>
          <a:endParaRPr lang="en-GB"/>
        </a:p>
      </dgm:t>
    </dgm:pt>
    <dgm:pt modelId="{53A43A2F-F728-4CC5-9592-FB0CC5E72A1B}">
      <dgm:prSet/>
      <dgm:spPr/>
      <dgm:t>
        <a:bodyPr/>
        <a:lstStyle/>
        <a:p>
          <a:r>
            <a:rPr lang="en-GB" dirty="0"/>
            <a:t>Personalised Care is a key policy for the NHS, and part of the LTP</a:t>
          </a:r>
        </a:p>
      </dgm:t>
      <dgm:extLst>
        <a:ext uri="{E40237B7-FDA0-4F09-8148-C483321AD2D9}">
          <dgm14:cNvPr xmlns:dgm14="http://schemas.microsoft.com/office/drawing/2010/diagram" id="0" name="" descr="SmartArt showing text:&#10;- Personalised Care is a key policy for the NHS, and part of the LTP"/>
        </a:ext>
      </dgm:extLst>
    </dgm:pt>
    <dgm:pt modelId="{B8348734-90DA-4F73-B508-AA8144906E01}" type="parTrans" cxnId="{292FAF21-1CBB-4B71-BA98-56E229C37D6A}">
      <dgm:prSet/>
      <dgm:spPr/>
      <dgm:t>
        <a:bodyPr/>
        <a:lstStyle/>
        <a:p>
          <a:endParaRPr lang="en-GB"/>
        </a:p>
      </dgm:t>
    </dgm:pt>
    <dgm:pt modelId="{B6B52729-6CBE-45E6-A70F-6CE30AFC4133}" type="sibTrans" cxnId="{292FAF21-1CBB-4B71-BA98-56E229C37D6A}">
      <dgm:prSet/>
      <dgm:spPr/>
      <dgm:t>
        <a:bodyPr/>
        <a:lstStyle/>
        <a:p>
          <a:endParaRPr lang="en-GB"/>
        </a:p>
      </dgm:t>
    </dgm:pt>
    <dgm:pt modelId="{570F2DDC-B74B-45D1-BDF1-80FAC7C2E49A}">
      <dgm:prSet/>
      <dgm:spPr/>
      <dgm:t>
        <a:bodyPr/>
        <a:lstStyle/>
        <a:p>
          <a:r>
            <a:rPr lang="en-GB" dirty="0"/>
            <a:t>Aim: to embed personalised, person-centred care into all local health systems</a:t>
          </a:r>
        </a:p>
      </dgm:t>
      <dgm:extLst>
        <a:ext uri="{E40237B7-FDA0-4F09-8148-C483321AD2D9}">
          <dgm14:cNvPr xmlns:dgm14="http://schemas.microsoft.com/office/drawing/2010/diagram" id="0" name="" descr="SmartArt showing text:&#13;&#10;- Aim: to embed personalised, person-centred care into all local health systems"/>
        </a:ext>
      </dgm:extLst>
    </dgm:pt>
    <dgm:pt modelId="{BAF31FB6-5C61-4587-8C35-E648287AC597}" type="parTrans" cxnId="{56CFE5F8-D7F6-4154-86D0-46D302C9D6E0}">
      <dgm:prSet/>
      <dgm:spPr/>
      <dgm:t>
        <a:bodyPr/>
        <a:lstStyle/>
        <a:p>
          <a:endParaRPr lang="en-GB"/>
        </a:p>
      </dgm:t>
    </dgm:pt>
    <dgm:pt modelId="{DD06D91C-F605-44C6-8BDE-9AD511C2CF10}" type="sibTrans" cxnId="{56CFE5F8-D7F6-4154-86D0-46D302C9D6E0}">
      <dgm:prSet/>
      <dgm:spPr/>
      <dgm:t>
        <a:bodyPr/>
        <a:lstStyle/>
        <a:p>
          <a:endParaRPr lang="en-GB"/>
        </a:p>
      </dgm:t>
    </dgm:pt>
    <dgm:pt modelId="{0427DF53-D59F-4D26-8BC7-F5B63DA57692}">
      <dgm:prSet/>
      <dgm:spPr/>
      <dgm:t>
        <a:bodyPr/>
        <a:lstStyle/>
        <a:p>
          <a:r>
            <a:rPr lang="en-GB" dirty="0"/>
            <a:t>Evidence for the effectiveness of PC has been sporadic, and piecemeal</a:t>
          </a:r>
        </a:p>
      </dgm:t>
      <dgm:extLst>
        <a:ext uri="{E40237B7-FDA0-4F09-8148-C483321AD2D9}">
          <dgm14:cNvPr xmlns:dgm14="http://schemas.microsoft.com/office/drawing/2010/diagram" id="0" name="" descr="SmartArt showing text:&#13;&#10;- Evidence for the effectiveness of PC has been sporadic, and piecemeal"/>
        </a:ext>
      </dgm:extLst>
    </dgm:pt>
    <dgm:pt modelId="{551AE082-FE16-4B89-ACD0-F97D4B6937EA}" type="parTrans" cxnId="{4A689409-236C-4451-B203-306B54D17302}">
      <dgm:prSet/>
      <dgm:spPr/>
      <dgm:t>
        <a:bodyPr/>
        <a:lstStyle/>
        <a:p>
          <a:endParaRPr lang="en-GB"/>
        </a:p>
      </dgm:t>
    </dgm:pt>
    <dgm:pt modelId="{5E4137C6-82D7-4AC5-A0C6-EA8682A7307A}" type="sibTrans" cxnId="{4A689409-236C-4451-B203-306B54D17302}">
      <dgm:prSet/>
      <dgm:spPr/>
      <dgm:t>
        <a:bodyPr/>
        <a:lstStyle/>
        <a:p>
          <a:endParaRPr lang="en-GB"/>
        </a:p>
      </dgm:t>
    </dgm:pt>
    <dgm:pt modelId="{59794375-EE6C-4A9C-8721-35BB0A6F83D6}">
      <dgm:prSet/>
      <dgm:spPr>
        <a:solidFill>
          <a:schemeClr val="accent1">
            <a:lumMod val="75000"/>
          </a:schemeClr>
        </a:solidFill>
      </dgm:spPr>
      <dgm:t>
        <a:bodyPr/>
        <a:lstStyle/>
        <a:p>
          <a:r>
            <a:rPr lang="en-GB" dirty="0"/>
            <a:t>Current need for a  review of the evidence, to support planning and policy-making</a:t>
          </a:r>
        </a:p>
      </dgm:t>
      <dgm:extLst>
        <a:ext uri="{E40237B7-FDA0-4F09-8148-C483321AD2D9}">
          <dgm14:cNvPr xmlns:dgm14="http://schemas.microsoft.com/office/drawing/2010/diagram" id="0" name="" descr="SmartArt showing text:&#13;&#10;- Current need for a  review of the evidence, to support planning and policy-making"/>
        </a:ext>
      </dgm:extLst>
    </dgm:pt>
    <dgm:pt modelId="{4220C782-7EC9-4A9F-BF5E-DB100BAF4D22}" type="parTrans" cxnId="{F2678576-C636-4F91-A254-B9A44F69AD1C}">
      <dgm:prSet/>
      <dgm:spPr/>
      <dgm:t>
        <a:bodyPr/>
        <a:lstStyle/>
        <a:p>
          <a:endParaRPr lang="en-GB"/>
        </a:p>
      </dgm:t>
    </dgm:pt>
    <dgm:pt modelId="{2DC2AA41-CD11-4865-927E-D5DE53099306}" type="sibTrans" cxnId="{F2678576-C636-4F91-A254-B9A44F69AD1C}">
      <dgm:prSet/>
      <dgm:spPr/>
      <dgm:t>
        <a:bodyPr/>
        <a:lstStyle/>
        <a:p>
          <a:endParaRPr lang="en-GB"/>
        </a:p>
      </dgm:t>
    </dgm:pt>
    <dgm:pt modelId="{06DE9719-7A19-4C5C-B3FA-8B327F1019BC}">
      <dgm:prSet/>
      <dgm:spPr/>
      <dgm:t>
        <a:bodyPr/>
        <a:lstStyle/>
        <a:p>
          <a:r>
            <a:rPr lang="en-GB" dirty="0"/>
            <a:t>Commission from the Evidence Task &amp; Finish Group to undertake such a review for fast delivery</a:t>
          </a:r>
        </a:p>
      </dgm:t>
      <dgm:extLst>
        <a:ext uri="{E40237B7-FDA0-4F09-8148-C483321AD2D9}">
          <dgm14:cNvPr xmlns:dgm14="http://schemas.microsoft.com/office/drawing/2010/diagram" id="0" name="" descr="SmartArt showing text:&#13;&#10;- Commission from the Evidence Task &amp; Finish Group to undertake such a review for fast delivery"/>
        </a:ext>
      </dgm:extLst>
    </dgm:pt>
    <dgm:pt modelId="{AA85E700-7940-40EF-BD83-E53CD740C464}" type="parTrans" cxnId="{19526577-75F9-4796-876D-441C642736BC}">
      <dgm:prSet/>
      <dgm:spPr/>
      <dgm:t>
        <a:bodyPr/>
        <a:lstStyle/>
        <a:p>
          <a:endParaRPr lang="en-GB"/>
        </a:p>
      </dgm:t>
    </dgm:pt>
    <dgm:pt modelId="{7618638C-D0DD-4569-AB6A-799A0D2D8BCA}" type="sibTrans" cxnId="{19526577-75F9-4796-876D-441C642736BC}">
      <dgm:prSet/>
      <dgm:spPr/>
      <dgm:t>
        <a:bodyPr/>
        <a:lstStyle/>
        <a:p>
          <a:endParaRPr lang="en-GB"/>
        </a:p>
      </dgm:t>
    </dgm:pt>
    <dgm:pt modelId="{D1B25C2A-9428-4E05-8BA1-5BC4FC77EA58}">
      <dgm:prSet/>
      <dgm:spPr/>
      <dgm:t>
        <a:bodyPr/>
        <a:lstStyle/>
        <a:p>
          <a:r>
            <a:rPr lang="en-GB" dirty="0"/>
            <a:t>Transformation Partnership in Health &amp; Care (Royal Free London NHS FT) undertook this commission </a:t>
          </a:r>
        </a:p>
      </dgm:t>
      <dgm:extLst>
        <a:ext uri="{E40237B7-FDA0-4F09-8148-C483321AD2D9}">
          <dgm14:cNvPr xmlns:dgm14="http://schemas.microsoft.com/office/drawing/2010/diagram" id="0" name="" descr="SmartArt showing text:&#13;&#10;- Transformation Partnership in Health &amp; Care (Royal Free London NHS FT) undertook this commission &#13;&#10;"/>
        </a:ext>
      </dgm:extLst>
    </dgm:pt>
    <dgm:pt modelId="{6C55FF0C-920F-451D-B4BB-748FDC8A01D9}" type="parTrans" cxnId="{2BE4EAA1-3730-4477-ABEC-DE4CBEE5C22E}">
      <dgm:prSet/>
      <dgm:spPr/>
      <dgm:t>
        <a:bodyPr/>
        <a:lstStyle/>
        <a:p>
          <a:endParaRPr lang="en-GB"/>
        </a:p>
      </dgm:t>
    </dgm:pt>
    <dgm:pt modelId="{0E969FD9-B7D7-446A-9837-F990FFD9AA5E}" type="sibTrans" cxnId="{2BE4EAA1-3730-4477-ABEC-DE4CBEE5C22E}">
      <dgm:prSet/>
      <dgm:spPr/>
      <dgm:t>
        <a:bodyPr/>
        <a:lstStyle/>
        <a:p>
          <a:endParaRPr lang="en-GB"/>
        </a:p>
      </dgm:t>
    </dgm:pt>
    <dgm:pt modelId="{1B83A248-6055-400C-960C-0057A5694D5F}" type="pres">
      <dgm:prSet presAssocID="{653204AC-7B24-4043-9531-C76FC9860E97}" presName="diagram" presStyleCnt="0">
        <dgm:presLayoutVars>
          <dgm:dir/>
          <dgm:resizeHandles val="exact"/>
        </dgm:presLayoutVars>
      </dgm:prSet>
      <dgm:spPr/>
    </dgm:pt>
    <dgm:pt modelId="{E3A006A0-F611-4A0F-92ED-049DB662F791}" type="pres">
      <dgm:prSet presAssocID="{53A43A2F-F728-4CC5-9592-FB0CC5E72A1B}" presName="node" presStyleLbl="node1" presStyleIdx="0" presStyleCnt="6">
        <dgm:presLayoutVars>
          <dgm:bulletEnabled val="1"/>
        </dgm:presLayoutVars>
      </dgm:prSet>
      <dgm:spPr/>
    </dgm:pt>
    <dgm:pt modelId="{F8370578-CAD6-4688-8D3E-2F002F9605EB}" type="pres">
      <dgm:prSet presAssocID="{B6B52729-6CBE-45E6-A70F-6CE30AFC4133}" presName="sibTrans" presStyleCnt="0"/>
      <dgm:spPr/>
    </dgm:pt>
    <dgm:pt modelId="{D00C33DB-AB81-466C-A3CE-C36DDA18B79D}" type="pres">
      <dgm:prSet presAssocID="{570F2DDC-B74B-45D1-BDF1-80FAC7C2E49A}" presName="node" presStyleLbl="node1" presStyleIdx="1" presStyleCnt="6">
        <dgm:presLayoutVars>
          <dgm:bulletEnabled val="1"/>
        </dgm:presLayoutVars>
      </dgm:prSet>
      <dgm:spPr/>
    </dgm:pt>
    <dgm:pt modelId="{6E205174-A51F-497A-9583-5D4836B6C547}" type="pres">
      <dgm:prSet presAssocID="{DD06D91C-F605-44C6-8BDE-9AD511C2CF10}" presName="sibTrans" presStyleCnt="0"/>
      <dgm:spPr/>
    </dgm:pt>
    <dgm:pt modelId="{9CD93D22-2AEE-4E9B-BDCC-884217DC411D}" type="pres">
      <dgm:prSet presAssocID="{0427DF53-D59F-4D26-8BC7-F5B63DA57692}" presName="node" presStyleLbl="node1" presStyleIdx="2" presStyleCnt="6">
        <dgm:presLayoutVars>
          <dgm:bulletEnabled val="1"/>
        </dgm:presLayoutVars>
      </dgm:prSet>
      <dgm:spPr/>
    </dgm:pt>
    <dgm:pt modelId="{F174A1A3-835E-47FA-9E87-184CAF6BC5D3}" type="pres">
      <dgm:prSet presAssocID="{5E4137C6-82D7-4AC5-A0C6-EA8682A7307A}" presName="sibTrans" presStyleCnt="0"/>
      <dgm:spPr/>
    </dgm:pt>
    <dgm:pt modelId="{D896A59A-642D-42E0-B840-5FE33879AF11}" type="pres">
      <dgm:prSet presAssocID="{59794375-EE6C-4A9C-8721-35BB0A6F83D6}" presName="node" presStyleLbl="node1" presStyleIdx="3" presStyleCnt="6">
        <dgm:presLayoutVars>
          <dgm:bulletEnabled val="1"/>
        </dgm:presLayoutVars>
      </dgm:prSet>
      <dgm:spPr/>
    </dgm:pt>
    <dgm:pt modelId="{E13C07EC-9654-4DA9-AFF0-BA7EB6656AAB}" type="pres">
      <dgm:prSet presAssocID="{2DC2AA41-CD11-4865-927E-D5DE53099306}" presName="sibTrans" presStyleCnt="0"/>
      <dgm:spPr/>
    </dgm:pt>
    <dgm:pt modelId="{7DE6CC3B-65CB-40D2-A55D-9CB812334248}" type="pres">
      <dgm:prSet presAssocID="{06DE9719-7A19-4C5C-B3FA-8B327F1019BC}" presName="node" presStyleLbl="node1" presStyleIdx="4" presStyleCnt="6">
        <dgm:presLayoutVars>
          <dgm:bulletEnabled val="1"/>
        </dgm:presLayoutVars>
      </dgm:prSet>
      <dgm:spPr/>
    </dgm:pt>
    <dgm:pt modelId="{C54999CE-4175-410C-AA08-097F691932FC}" type="pres">
      <dgm:prSet presAssocID="{7618638C-D0DD-4569-AB6A-799A0D2D8BCA}" presName="sibTrans" presStyleCnt="0"/>
      <dgm:spPr/>
    </dgm:pt>
    <dgm:pt modelId="{9958955C-232D-4707-9845-C502C551A733}" type="pres">
      <dgm:prSet presAssocID="{D1B25C2A-9428-4E05-8BA1-5BC4FC77EA58}" presName="node" presStyleLbl="node1" presStyleIdx="5" presStyleCnt="6">
        <dgm:presLayoutVars>
          <dgm:bulletEnabled val="1"/>
        </dgm:presLayoutVars>
      </dgm:prSet>
      <dgm:spPr/>
    </dgm:pt>
  </dgm:ptLst>
  <dgm:cxnLst>
    <dgm:cxn modelId="{4A689409-236C-4451-B203-306B54D17302}" srcId="{653204AC-7B24-4043-9531-C76FC9860E97}" destId="{0427DF53-D59F-4D26-8BC7-F5B63DA57692}" srcOrd="2" destOrd="0" parTransId="{551AE082-FE16-4B89-ACD0-F97D4B6937EA}" sibTransId="{5E4137C6-82D7-4AC5-A0C6-EA8682A7307A}"/>
    <dgm:cxn modelId="{292FAF21-1CBB-4B71-BA98-56E229C37D6A}" srcId="{653204AC-7B24-4043-9531-C76FC9860E97}" destId="{53A43A2F-F728-4CC5-9592-FB0CC5E72A1B}" srcOrd="0" destOrd="0" parTransId="{B8348734-90DA-4F73-B508-AA8144906E01}" sibTransId="{B6B52729-6CBE-45E6-A70F-6CE30AFC4133}"/>
    <dgm:cxn modelId="{AB791258-BA43-4DB0-91FE-A707A04BBDDD}" type="presOf" srcId="{570F2DDC-B74B-45D1-BDF1-80FAC7C2E49A}" destId="{D00C33DB-AB81-466C-A3CE-C36DDA18B79D}" srcOrd="0" destOrd="0" presId="urn:microsoft.com/office/officeart/2005/8/layout/default"/>
    <dgm:cxn modelId="{7D75D662-EA74-41BB-BBF7-68501BFD776F}" type="presOf" srcId="{06DE9719-7A19-4C5C-B3FA-8B327F1019BC}" destId="{7DE6CC3B-65CB-40D2-A55D-9CB812334248}" srcOrd="0" destOrd="0" presId="urn:microsoft.com/office/officeart/2005/8/layout/default"/>
    <dgm:cxn modelId="{F2678576-C636-4F91-A254-B9A44F69AD1C}" srcId="{653204AC-7B24-4043-9531-C76FC9860E97}" destId="{59794375-EE6C-4A9C-8721-35BB0A6F83D6}" srcOrd="3" destOrd="0" parTransId="{4220C782-7EC9-4A9F-BF5E-DB100BAF4D22}" sibTransId="{2DC2AA41-CD11-4865-927E-D5DE53099306}"/>
    <dgm:cxn modelId="{19526577-75F9-4796-876D-441C642736BC}" srcId="{653204AC-7B24-4043-9531-C76FC9860E97}" destId="{06DE9719-7A19-4C5C-B3FA-8B327F1019BC}" srcOrd="4" destOrd="0" parTransId="{AA85E700-7940-40EF-BD83-E53CD740C464}" sibTransId="{7618638C-D0DD-4569-AB6A-799A0D2D8BCA}"/>
    <dgm:cxn modelId="{012F5890-7BD1-4FC7-AC53-F1D5446558D5}" type="presOf" srcId="{0427DF53-D59F-4D26-8BC7-F5B63DA57692}" destId="{9CD93D22-2AEE-4E9B-BDCC-884217DC411D}" srcOrd="0" destOrd="0" presId="urn:microsoft.com/office/officeart/2005/8/layout/default"/>
    <dgm:cxn modelId="{A60AD392-A610-452F-B764-D076FACC424B}" type="presOf" srcId="{653204AC-7B24-4043-9531-C76FC9860E97}" destId="{1B83A248-6055-400C-960C-0057A5694D5F}" srcOrd="0" destOrd="0" presId="urn:microsoft.com/office/officeart/2005/8/layout/default"/>
    <dgm:cxn modelId="{2BE4EAA1-3730-4477-ABEC-DE4CBEE5C22E}" srcId="{653204AC-7B24-4043-9531-C76FC9860E97}" destId="{D1B25C2A-9428-4E05-8BA1-5BC4FC77EA58}" srcOrd="5" destOrd="0" parTransId="{6C55FF0C-920F-451D-B4BB-748FDC8A01D9}" sibTransId="{0E969FD9-B7D7-446A-9837-F990FFD9AA5E}"/>
    <dgm:cxn modelId="{F9AAF4D4-8E5D-499A-8CED-F093AD0C6C59}" type="presOf" srcId="{59794375-EE6C-4A9C-8721-35BB0A6F83D6}" destId="{D896A59A-642D-42E0-B840-5FE33879AF11}" srcOrd="0" destOrd="0" presId="urn:microsoft.com/office/officeart/2005/8/layout/default"/>
    <dgm:cxn modelId="{6B222EDB-F1A4-41CD-8482-1E72C28AEB40}" type="presOf" srcId="{53A43A2F-F728-4CC5-9592-FB0CC5E72A1B}" destId="{E3A006A0-F611-4A0F-92ED-049DB662F791}" srcOrd="0" destOrd="0" presId="urn:microsoft.com/office/officeart/2005/8/layout/default"/>
    <dgm:cxn modelId="{41E7C0F6-F184-46F2-AEE7-9E72E36E24B6}" type="presOf" srcId="{D1B25C2A-9428-4E05-8BA1-5BC4FC77EA58}" destId="{9958955C-232D-4707-9845-C502C551A733}" srcOrd="0" destOrd="0" presId="urn:microsoft.com/office/officeart/2005/8/layout/default"/>
    <dgm:cxn modelId="{56CFE5F8-D7F6-4154-86D0-46D302C9D6E0}" srcId="{653204AC-7B24-4043-9531-C76FC9860E97}" destId="{570F2DDC-B74B-45D1-BDF1-80FAC7C2E49A}" srcOrd="1" destOrd="0" parTransId="{BAF31FB6-5C61-4587-8C35-E648287AC597}" sibTransId="{DD06D91C-F605-44C6-8BDE-9AD511C2CF10}"/>
    <dgm:cxn modelId="{1C782E7D-4ED2-4230-A5DA-00BE0B59A752}" type="presParOf" srcId="{1B83A248-6055-400C-960C-0057A5694D5F}" destId="{E3A006A0-F611-4A0F-92ED-049DB662F791}" srcOrd="0" destOrd="0" presId="urn:microsoft.com/office/officeart/2005/8/layout/default"/>
    <dgm:cxn modelId="{BD2702E7-94DC-46BC-9D9A-BF739CF17E17}" type="presParOf" srcId="{1B83A248-6055-400C-960C-0057A5694D5F}" destId="{F8370578-CAD6-4688-8D3E-2F002F9605EB}" srcOrd="1" destOrd="0" presId="urn:microsoft.com/office/officeart/2005/8/layout/default"/>
    <dgm:cxn modelId="{36F5755F-05BE-4242-AD45-0E035EF63EEF}" type="presParOf" srcId="{1B83A248-6055-400C-960C-0057A5694D5F}" destId="{D00C33DB-AB81-466C-A3CE-C36DDA18B79D}" srcOrd="2" destOrd="0" presId="urn:microsoft.com/office/officeart/2005/8/layout/default"/>
    <dgm:cxn modelId="{7CD0A1AD-9AC9-42CE-AECD-A85542D98F84}" type="presParOf" srcId="{1B83A248-6055-400C-960C-0057A5694D5F}" destId="{6E205174-A51F-497A-9583-5D4836B6C547}" srcOrd="3" destOrd="0" presId="urn:microsoft.com/office/officeart/2005/8/layout/default"/>
    <dgm:cxn modelId="{05BD656A-C36B-42AE-A837-6F6D0E64E86F}" type="presParOf" srcId="{1B83A248-6055-400C-960C-0057A5694D5F}" destId="{9CD93D22-2AEE-4E9B-BDCC-884217DC411D}" srcOrd="4" destOrd="0" presId="urn:microsoft.com/office/officeart/2005/8/layout/default"/>
    <dgm:cxn modelId="{EA77BF03-C3E8-417F-BF3B-D77DDA8D8E0A}" type="presParOf" srcId="{1B83A248-6055-400C-960C-0057A5694D5F}" destId="{F174A1A3-835E-47FA-9E87-184CAF6BC5D3}" srcOrd="5" destOrd="0" presId="urn:microsoft.com/office/officeart/2005/8/layout/default"/>
    <dgm:cxn modelId="{EE94437E-1CBB-40B4-AE01-135D21B94F8F}" type="presParOf" srcId="{1B83A248-6055-400C-960C-0057A5694D5F}" destId="{D896A59A-642D-42E0-B840-5FE33879AF11}" srcOrd="6" destOrd="0" presId="urn:microsoft.com/office/officeart/2005/8/layout/default"/>
    <dgm:cxn modelId="{9DA3A4B2-EAF8-409E-90F5-3BDBB00F86B7}" type="presParOf" srcId="{1B83A248-6055-400C-960C-0057A5694D5F}" destId="{E13C07EC-9654-4DA9-AFF0-BA7EB6656AAB}" srcOrd="7" destOrd="0" presId="urn:microsoft.com/office/officeart/2005/8/layout/default"/>
    <dgm:cxn modelId="{2A62F48B-777F-43DA-A5E1-B288A34AB8C2}" type="presParOf" srcId="{1B83A248-6055-400C-960C-0057A5694D5F}" destId="{7DE6CC3B-65CB-40D2-A55D-9CB812334248}" srcOrd="8" destOrd="0" presId="urn:microsoft.com/office/officeart/2005/8/layout/default"/>
    <dgm:cxn modelId="{0FD7AE32-657F-48FC-BFEF-E07FB13ACF70}" type="presParOf" srcId="{1B83A248-6055-400C-960C-0057A5694D5F}" destId="{C54999CE-4175-410C-AA08-097F691932FC}" srcOrd="9" destOrd="0" presId="urn:microsoft.com/office/officeart/2005/8/layout/default"/>
    <dgm:cxn modelId="{54427700-E62E-451C-95AE-A3FFE8AC1536}" type="presParOf" srcId="{1B83A248-6055-400C-960C-0057A5694D5F}" destId="{9958955C-232D-4707-9845-C502C551A733}" srcOrd="1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E9992972-A1C3-4464-A3BE-DBA4FCD9F8C0}"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GB"/>
        </a:p>
      </dgm:t>
    </dgm:pt>
    <dgm:pt modelId="{1DA4D573-4FB9-4443-983F-99B61A9B13B8}">
      <dgm:prSet/>
      <dgm:spPr/>
      <dgm:t>
        <a:bodyPr/>
        <a:lstStyle/>
        <a:p>
          <a:r>
            <a:rPr lang="en-GB" dirty="0"/>
            <a:t>In some forms for some conditions, the evidence supports the assertion that PC leads to lower healthcare utilisation. The evidence is strongest for SSM in COPD.</a:t>
          </a:r>
        </a:p>
      </dgm:t>
      <dgm:extLst>
        <a:ext uri="{E40237B7-FDA0-4F09-8148-C483321AD2D9}">
          <dgm14:cNvPr xmlns:dgm14="http://schemas.microsoft.com/office/drawing/2010/diagram" id="0" name="" descr="SmartArt with text:&#10;In some forms for some conditions, the evidence supports the assertion that PC leads to lower healthcare utilisation. The evidence is strongest for SSM in COPD."/>
        </a:ext>
      </dgm:extLst>
    </dgm:pt>
    <dgm:pt modelId="{671D766D-092E-4598-9633-7FF34F0909FB}" type="parTrans" cxnId="{3AB1FDF5-DB07-410B-A884-EF44D7F2936E}">
      <dgm:prSet/>
      <dgm:spPr/>
      <dgm:t>
        <a:bodyPr/>
        <a:lstStyle/>
        <a:p>
          <a:endParaRPr lang="en-GB"/>
        </a:p>
      </dgm:t>
    </dgm:pt>
    <dgm:pt modelId="{CD0F5940-8B76-49F2-99AD-49D23DA23E98}" type="sibTrans" cxnId="{3AB1FDF5-DB07-410B-A884-EF44D7F2936E}">
      <dgm:prSet/>
      <dgm:spPr/>
      <dgm:t>
        <a:bodyPr/>
        <a:lstStyle/>
        <a:p>
          <a:endParaRPr lang="en-GB"/>
        </a:p>
      </dgm:t>
    </dgm:pt>
    <dgm:pt modelId="{39915F8F-A1D6-4E6F-B8A0-6C7E338B4F73}">
      <dgm:prSet/>
      <dgm:spPr/>
      <dgm:t>
        <a:bodyPr/>
        <a:lstStyle/>
        <a:p>
          <a:r>
            <a:rPr lang="en-GB" dirty="0"/>
            <a:t>There is cross-condition support for the positive impact that PC has on patient health, wellbeing and clinical outcomes</a:t>
          </a:r>
        </a:p>
      </dgm:t>
      <dgm:extLst>
        <a:ext uri="{E40237B7-FDA0-4F09-8148-C483321AD2D9}">
          <dgm14:cNvPr xmlns:dgm14="http://schemas.microsoft.com/office/drawing/2010/diagram" id="0" name="" descr="SmartArt with text:&#13;&#10;There is cross-condition support for the positive impact that PC has on patient health, wellbeing and clinical outcomes"/>
        </a:ext>
      </dgm:extLst>
    </dgm:pt>
    <dgm:pt modelId="{0311D746-D540-486F-813D-A99BF95295AB}" type="parTrans" cxnId="{D52F5D05-7E3C-4414-BB7B-414113A34452}">
      <dgm:prSet/>
      <dgm:spPr/>
      <dgm:t>
        <a:bodyPr/>
        <a:lstStyle/>
        <a:p>
          <a:endParaRPr lang="en-GB"/>
        </a:p>
      </dgm:t>
    </dgm:pt>
    <dgm:pt modelId="{78AC06D4-86D4-4BB2-A526-52C02E97A0A2}" type="sibTrans" cxnId="{D52F5D05-7E3C-4414-BB7B-414113A34452}">
      <dgm:prSet/>
      <dgm:spPr/>
      <dgm:t>
        <a:bodyPr/>
        <a:lstStyle/>
        <a:p>
          <a:endParaRPr lang="en-GB"/>
        </a:p>
      </dgm:t>
    </dgm:pt>
    <dgm:pt modelId="{78E14599-845F-4D5F-BC70-F2DAA157C267}">
      <dgm:prSet/>
      <dgm:spPr/>
      <dgm:t>
        <a:bodyPr/>
        <a:lstStyle/>
        <a:p>
          <a:r>
            <a:rPr lang="en-GB" dirty="0"/>
            <a:t>Deep dive analyses would be instructive to identify areas of variation and relationships of PC interventions to deprivation and other wider determinants of health</a:t>
          </a:r>
        </a:p>
      </dgm:t>
      <dgm:extLst>
        <a:ext uri="{E40237B7-FDA0-4F09-8148-C483321AD2D9}">
          <dgm14:cNvPr xmlns:dgm14="http://schemas.microsoft.com/office/drawing/2010/diagram" id="0" name="" descr="SmartArt with text:&#13;&#10;Deep dive analyses would be instructive to identify areas of variation and relationships of PC interventions to deprivation and other wider determinants of health"/>
        </a:ext>
      </dgm:extLst>
    </dgm:pt>
    <dgm:pt modelId="{A25E7CB0-B258-4F36-A5E8-BDFBD9CA9E9E}" type="parTrans" cxnId="{04CE6D2F-D86C-43EF-9003-E487FF75EDA9}">
      <dgm:prSet/>
      <dgm:spPr/>
      <dgm:t>
        <a:bodyPr/>
        <a:lstStyle/>
        <a:p>
          <a:endParaRPr lang="en-GB"/>
        </a:p>
      </dgm:t>
    </dgm:pt>
    <dgm:pt modelId="{134A1ACD-35DE-4D35-9E3F-D7B9E04301D9}" type="sibTrans" cxnId="{04CE6D2F-D86C-43EF-9003-E487FF75EDA9}">
      <dgm:prSet/>
      <dgm:spPr/>
      <dgm:t>
        <a:bodyPr/>
        <a:lstStyle/>
        <a:p>
          <a:endParaRPr lang="en-GB"/>
        </a:p>
      </dgm:t>
    </dgm:pt>
    <dgm:pt modelId="{213E2E33-3F3C-4294-B531-24E3577D2A2F}">
      <dgm:prSet/>
      <dgm:spPr/>
      <dgm:t>
        <a:bodyPr/>
        <a:lstStyle/>
        <a:p>
          <a:r>
            <a:rPr lang="en-GB" dirty="0"/>
            <a:t>More evidence is required to explore the person-centric impact of PC, not just one of the components or its interventions in isolation of the others</a:t>
          </a:r>
        </a:p>
      </dgm:t>
      <dgm:extLst>
        <a:ext uri="{E40237B7-FDA0-4F09-8148-C483321AD2D9}">
          <dgm14:cNvPr xmlns:dgm14="http://schemas.microsoft.com/office/drawing/2010/diagram" id="0" name="" descr="SmartArt with text:&#13;&#10;More evidence is required to explore the person-centric impact of PC, not just one of the components or its interventions in isolation of the others"/>
        </a:ext>
      </dgm:extLst>
    </dgm:pt>
    <dgm:pt modelId="{91A6D465-62C1-44E6-8DD0-0F3D0A0E5C9A}" type="parTrans" cxnId="{1A8E2089-1013-4E55-956F-C669930D3748}">
      <dgm:prSet/>
      <dgm:spPr/>
      <dgm:t>
        <a:bodyPr/>
        <a:lstStyle/>
        <a:p>
          <a:endParaRPr lang="en-GB"/>
        </a:p>
      </dgm:t>
    </dgm:pt>
    <dgm:pt modelId="{361FD20E-F062-486A-B4C3-88C774649362}" type="sibTrans" cxnId="{1A8E2089-1013-4E55-956F-C669930D3748}">
      <dgm:prSet/>
      <dgm:spPr/>
      <dgm:t>
        <a:bodyPr/>
        <a:lstStyle/>
        <a:p>
          <a:endParaRPr lang="en-GB"/>
        </a:p>
      </dgm:t>
    </dgm:pt>
    <dgm:pt modelId="{AE65EC90-3DF9-4D91-BFF3-FB878F636E39}">
      <dgm:prSet/>
      <dgm:spPr/>
      <dgm:t>
        <a:bodyPr/>
        <a:lstStyle/>
        <a:p>
          <a:r>
            <a:rPr lang="en-GB" dirty="0"/>
            <a:t>More information is needed about the impact of PC interventions on utilisation in primary care</a:t>
          </a:r>
        </a:p>
      </dgm:t>
      <dgm:extLst>
        <a:ext uri="{E40237B7-FDA0-4F09-8148-C483321AD2D9}">
          <dgm14:cNvPr xmlns:dgm14="http://schemas.microsoft.com/office/drawing/2010/diagram" id="0" name="" descr="SmartArt with text:&#13;&#10;More information is needed about the impact of PC interventions on utilisation in primary care"/>
        </a:ext>
      </dgm:extLst>
    </dgm:pt>
    <dgm:pt modelId="{F489DA20-133A-4F8A-9114-31830BBC7DCB}" type="parTrans" cxnId="{F4594FD9-4D43-4BD6-B541-072C2EBCFA4C}">
      <dgm:prSet/>
      <dgm:spPr/>
      <dgm:t>
        <a:bodyPr/>
        <a:lstStyle/>
        <a:p>
          <a:endParaRPr lang="en-GB"/>
        </a:p>
      </dgm:t>
    </dgm:pt>
    <dgm:pt modelId="{05A8AE6F-CE04-4CEE-9A5B-7159CEC58998}" type="sibTrans" cxnId="{F4594FD9-4D43-4BD6-B541-072C2EBCFA4C}">
      <dgm:prSet/>
      <dgm:spPr/>
      <dgm:t>
        <a:bodyPr/>
        <a:lstStyle/>
        <a:p>
          <a:endParaRPr lang="en-GB"/>
        </a:p>
      </dgm:t>
    </dgm:pt>
    <dgm:pt modelId="{CAAEF4A7-C8EA-45B1-9151-A58C0F962095}">
      <dgm:prSet/>
      <dgm:spPr/>
      <dgm:t>
        <a:bodyPr/>
        <a:lstStyle/>
        <a:p>
          <a:r>
            <a:rPr lang="en-GB" dirty="0"/>
            <a:t>An evidence review could look at co-morbid patients, and the impact that PC interventions have for them</a:t>
          </a:r>
        </a:p>
      </dgm:t>
      <dgm:extLst>
        <a:ext uri="{E40237B7-FDA0-4F09-8148-C483321AD2D9}">
          <dgm14:cNvPr xmlns:dgm14="http://schemas.microsoft.com/office/drawing/2010/diagram" id="0" name="" descr="SmartArt with text:&#10;An evidence review could look at co-morbid patients, and the impact that PC interventions have for them&#13;&#10;"/>
        </a:ext>
      </dgm:extLst>
    </dgm:pt>
    <dgm:pt modelId="{C3AEC21C-C5C9-4869-A74D-19E10F4BBD80}" type="parTrans" cxnId="{2A3793B2-ED13-49C9-BEFE-C22435104BA6}">
      <dgm:prSet/>
      <dgm:spPr/>
      <dgm:t>
        <a:bodyPr/>
        <a:lstStyle/>
        <a:p>
          <a:endParaRPr lang="en-GB"/>
        </a:p>
      </dgm:t>
    </dgm:pt>
    <dgm:pt modelId="{E3C2201E-0614-4D80-8ACE-FE847944B418}" type="sibTrans" cxnId="{2A3793B2-ED13-49C9-BEFE-C22435104BA6}">
      <dgm:prSet/>
      <dgm:spPr/>
      <dgm:t>
        <a:bodyPr/>
        <a:lstStyle/>
        <a:p>
          <a:endParaRPr lang="en-GB"/>
        </a:p>
      </dgm:t>
    </dgm:pt>
    <dgm:pt modelId="{AFC9B6B1-D065-4CEA-A080-E209248AA59E}">
      <dgm:prSet/>
      <dgm:spPr/>
      <dgm:t>
        <a:bodyPr/>
        <a:lstStyle/>
        <a:p>
          <a:r>
            <a:rPr lang="en-GB" dirty="0"/>
            <a:t>Exploration may be constructive around the impact on staff</a:t>
          </a:r>
        </a:p>
      </dgm:t>
      <dgm:extLst>
        <a:ext uri="{E40237B7-FDA0-4F09-8148-C483321AD2D9}">
          <dgm14:cNvPr xmlns:dgm14="http://schemas.microsoft.com/office/drawing/2010/diagram" id="0" name="" descr="SmartArt with text:&#13;&#10;Exploration may be constructive around the impact on staff"/>
        </a:ext>
      </dgm:extLst>
    </dgm:pt>
    <dgm:pt modelId="{905430F8-00E4-4A2B-87C8-2AF3AEE10A72}" type="parTrans" cxnId="{55CF08D8-11CE-4DC3-84E2-FBC21DE2F6F7}">
      <dgm:prSet/>
      <dgm:spPr/>
      <dgm:t>
        <a:bodyPr/>
        <a:lstStyle/>
        <a:p>
          <a:endParaRPr lang="en-GB"/>
        </a:p>
      </dgm:t>
    </dgm:pt>
    <dgm:pt modelId="{C8C39985-5673-4604-ACA4-3E1FA80FDB06}" type="sibTrans" cxnId="{55CF08D8-11CE-4DC3-84E2-FBC21DE2F6F7}">
      <dgm:prSet/>
      <dgm:spPr/>
      <dgm:t>
        <a:bodyPr/>
        <a:lstStyle/>
        <a:p>
          <a:endParaRPr lang="en-GB"/>
        </a:p>
      </dgm:t>
    </dgm:pt>
    <dgm:pt modelId="{0B6C9C8D-A3A4-49E9-B2B2-9689F5E6451A}">
      <dgm:prSet/>
      <dgm:spPr/>
      <dgm:t>
        <a:bodyPr/>
        <a:lstStyle/>
        <a:p>
          <a:r>
            <a:rPr lang="en-GB" dirty="0"/>
            <a:t>More research is required to understand more about the other components of PC and their impact, as well as more exploration of how the indirect impacts might reduce utilisation in the longer term</a:t>
          </a:r>
        </a:p>
      </dgm:t>
      <dgm:extLst>
        <a:ext uri="{E40237B7-FDA0-4F09-8148-C483321AD2D9}">
          <dgm14:cNvPr xmlns:dgm14="http://schemas.microsoft.com/office/drawing/2010/diagram" id="0" name="" descr="SmartArt with text:&#13;&#10;More research is required to understand more about the other components of PC and their impact, as well as more exploration of how the indirect impacts might reduce utilisation in the longer term"/>
        </a:ext>
      </dgm:extLst>
    </dgm:pt>
    <dgm:pt modelId="{483DF7C1-3AEF-462A-982A-B51FF96F0E99}" type="parTrans" cxnId="{45F9BF9A-DCAE-4CCF-AA7E-3038BD070239}">
      <dgm:prSet/>
      <dgm:spPr/>
      <dgm:t>
        <a:bodyPr/>
        <a:lstStyle/>
        <a:p>
          <a:endParaRPr lang="en-GB"/>
        </a:p>
      </dgm:t>
    </dgm:pt>
    <dgm:pt modelId="{5F23EDF2-342C-41F3-8FED-58E523A8E07B}" type="sibTrans" cxnId="{45F9BF9A-DCAE-4CCF-AA7E-3038BD070239}">
      <dgm:prSet/>
      <dgm:spPr/>
      <dgm:t>
        <a:bodyPr/>
        <a:lstStyle/>
        <a:p>
          <a:endParaRPr lang="en-GB"/>
        </a:p>
      </dgm:t>
    </dgm:pt>
    <dgm:pt modelId="{9079418E-37A4-4C3C-9416-5E33A0197558}" type="pres">
      <dgm:prSet presAssocID="{E9992972-A1C3-4464-A3BE-DBA4FCD9F8C0}" presName="diagram" presStyleCnt="0">
        <dgm:presLayoutVars>
          <dgm:dir/>
          <dgm:resizeHandles val="exact"/>
        </dgm:presLayoutVars>
      </dgm:prSet>
      <dgm:spPr/>
    </dgm:pt>
    <dgm:pt modelId="{F9490142-2806-4998-B447-957E4819884C}" type="pres">
      <dgm:prSet presAssocID="{1DA4D573-4FB9-4443-983F-99B61A9B13B8}" presName="node" presStyleLbl="node1" presStyleIdx="0" presStyleCnt="8">
        <dgm:presLayoutVars>
          <dgm:bulletEnabled val="1"/>
        </dgm:presLayoutVars>
      </dgm:prSet>
      <dgm:spPr/>
    </dgm:pt>
    <dgm:pt modelId="{F6F59B96-8F04-49FD-899D-8B793ECD5BFF}" type="pres">
      <dgm:prSet presAssocID="{CD0F5940-8B76-49F2-99AD-49D23DA23E98}" presName="sibTrans" presStyleCnt="0"/>
      <dgm:spPr/>
    </dgm:pt>
    <dgm:pt modelId="{9DAAD92E-D6AD-4B7F-8DCB-D7787F3F76A8}" type="pres">
      <dgm:prSet presAssocID="{39915F8F-A1D6-4E6F-B8A0-6C7E338B4F73}" presName="node" presStyleLbl="node1" presStyleIdx="1" presStyleCnt="8">
        <dgm:presLayoutVars>
          <dgm:bulletEnabled val="1"/>
        </dgm:presLayoutVars>
      </dgm:prSet>
      <dgm:spPr/>
    </dgm:pt>
    <dgm:pt modelId="{6F58F4A8-772B-4518-8CD9-6467251D1252}" type="pres">
      <dgm:prSet presAssocID="{78AC06D4-86D4-4BB2-A526-52C02E97A0A2}" presName="sibTrans" presStyleCnt="0"/>
      <dgm:spPr/>
    </dgm:pt>
    <dgm:pt modelId="{CD726D79-6791-433B-9387-165108FFE662}" type="pres">
      <dgm:prSet presAssocID="{78E14599-845F-4D5F-BC70-F2DAA157C267}" presName="node" presStyleLbl="node1" presStyleIdx="2" presStyleCnt="8">
        <dgm:presLayoutVars>
          <dgm:bulletEnabled val="1"/>
        </dgm:presLayoutVars>
      </dgm:prSet>
      <dgm:spPr/>
    </dgm:pt>
    <dgm:pt modelId="{AAFB44CD-17CC-4663-84C1-8717E44FB945}" type="pres">
      <dgm:prSet presAssocID="{134A1ACD-35DE-4D35-9E3F-D7B9E04301D9}" presName="sibTrans" presStyleCnt="0"/>
      <dgm:spPr/>
    </dgm:pt>
    <dgm:pt modelId="{78F3636E-4596-420E-8EC9-236B64CC37D6}" type="pres">
      <dgm:prSet presAssocID="{0B6C9C8D-A3A4-49E9-B2B2-9689F5E6451A}" presName="node" presStyleLbl="node1" presStyleIdx="3" presStyleCnt="8">
        <dgm:presLayoutVars>
          <dgm:bulletEnabled val="1"/>
        </dgm:presLayoutVars>
      </dgm:prSet>
      <dgm:spPr/>
    </dgm:pt>
    <dgm:pt modelId="{7B71496E-CD58-4E92-A1F7-AD318EA9377C}" type="pres">
      <dgm:prSet presAssocID="{5F23EDF2-342C-41F3-8FED-58E523A8E07B}" presName="sibTrans" presStyleCnt="0"/>
      <dgm:spPr/>
    </dgm:pt>
    <dgm:pt modelId="{D429C8F6-8621-4A4A-9561-6A9EDAB64E69}" type="pres">
      <dgm:prSet presAssocID="{213E2E33-3F3C-4294-B531-24E3577D2A2F}" presName="node" presStyleLbl="node1" presStyleIdx="4" presStyleCnt="8">
        <dgm:presLayoutVars>
          <dgm:bulletEnabled val="1"/>
        </dgm:presLayoutVars>
      </dgm:prSet>
      <dgm:spPr/>
    </dgm:pt>
    <dgm:pt modelId="{6F32BFAC-AA62-49BF-9561-432A5D119BF0}" type="pres">
      <dgm:prSet presAssocID="{361FD20E-F062-486A-B4C3-88C774649362}" presName="sibTrans" presStyleCnt="0"/>
      <dgm:spPr/>
    </dgm:pt>
    <dgm:pt modelId="{6782265E-8601-4047-A632-B3E1B8883F25}" type="pres">
      <dgm:prSet presAssocID="{AE65EC90-3DF9-4D91-BFF3-FB878F636E39}" presName="node" presStyleLbl="node1" presStyleIdx="5" presStyleCnt="8">
        <dgm:presLayoutVars>
          <dgm:bulletEnabled val="1"/>
        </dgm:presLayoutVars>
      </dgm:prSet>
      <dgm:spPr/>
    </dgm:pt>
    <dgm:pt modelId="{26BFF048-03FD-456B-B7CC-68A81E93AAD3}" type="pres">
      <dgm:prSet presAssocID="{05A8AE6F-CE04-4CEE-9A5B-7159CEC58998}" presName="sibTrans" presStyleCnt="0"/>
      <dgm:spPr/>
    </dgm:pt>
    <dgm:pt modelId="{09AC0722-3D5F-4354-86A3-F425339A95EF}" type="pres">
      <dgm:prSet presAssocID="{CAAEF4A7-C8EA-45B1-9151-A58C0F962095}" presName="node" presStyleLbl="node1" presStyleIdx="6" presStyleCnt="8">
        <dgm:presLayoutVars>
          <dgm:bulletEnabled val="1"/>
        </dgm:presLayoutVars>
      </dgm:prSet>
      <dgm:spPr/>
    </dgm:pt>
    <dgm:pt modelId="{720AE3C1-0342-438A-AF8C-66B30616EED9}" type="pres">
      <dgm:prSet presAssocID="{E3C2201E-0614-4D80-8ACE-FE847944B418}" presName="sibTrans" presStyleCnt="0"/>
      <dgm:spPr/>
    </dgm:pt>
    <dgm:pt modelId="{5D8CC3C7-F761-4510-97D4-6DFC6DA97533}" type="pres">
      <dgm:prSet presAssocID="{AFC9B6B1-D065-4CEA-A080-E209248AA59E}" presName="node" presStyleLbl="node1" presStyleIdx="7" presStyleCnt="8">
        <dgm:presLayoutVars>
          <dgm:bulletEnabled val="1"/>
        </dgm:presLayoutVars>
      </dgm:prSet>
      <dgm:spPr/>
    </dgm:pt>
  </dgm:ptLst>
  <dgm:cxnLst>
    <dgm:cxn modelId="{D52F5D05-7E3C-4414-BB7B-414113A34452}" srcId="{E9992972-A1C3-4464-A3BE-DBA4FCD9F8C0}" destId="{39915F8F-A1D6-4E6F-B8A0-6C7E338B4F73}" srcOrd="1" destOrd="0" parTransId="{0311D746-D540-486F-813D-A99BF95295AB}" sibTransId="{78AC06D4-86D4-4BB2-A526-52C02E97A0A2}"/>
    <dgm:cxn modelId="{70B15E1E-6C1F-45BC-9612-ABD308A3B6FF}" type="presOf" srcId="{E9992972-A1C3-4464-A3BE-DBA4FCD9F8C0}" destId="{9079418E-37A4-4C3C-9416-5E33A0197558}" srcOrd="0" destOrd="0" presId="urn:microsoft.com/office/officeart/2005/8/layout/default"/>
    <dgm:cxn modelId="{04CE6D2F-D86C-43EF-9003-E487FF75EDA9}" srcId="{E9992972-A1C3-4464-A3BE-DBA4FCD9F8C0}" destId="{78E14599-845F-4D5F-BC70-F2DAA157C267}" srcOrd="2" destOrd="0" parTransId="{A25E7CB0-B258-4F36-A5E8-BDFBD9CA9E9E}" sibTransId="{134A1ACD-35DE-4D35-9E3F-D7B9E04301D9}"/>
    <dgm:cxn modelId="{8476674B-42FA-48B1-AE37-C59EF13C1ABA}" type="presOf" srcId="{39915F8F-A1D6-4E6F-B8A0-6C7E338B4F73}" destId="{9DAAD92E-D6AD-4B7F-8DCB-D7787F3F76A8}" srcOrd="0" destOrd="0" presId="urn:microsoft.com/office/officeart/2005/8/layout/default"/>
    <dgm:cxn modelId="{3A3B6254-0ED2-407F-9057-0B2FF2CDF110}" type="presOf" srcId="{CAAEF4A7-C8EA-45B1-9151-A58C0F962095}" destId="{09AC0722-3D5F-4354-86A3-F425339A95EF}" srcOrd="0" destOrd="0" presId="urn:microsoft.com/office/officeart/2005/8/layout/default"/>
    <dgm:cxn modelId="{3DB59B60-532A-483A-A7F4-124624FB9641}" type="presOf" srcId="{AE65EC90-3DF9-4D91-BFF3-FB878F636E39}" destId="{6782265E-8601-4047-A632-B3E1B8883F25}" srcOrd="0" destOrd="0" presId="urn:microsoft.com/office/officeart/2005/8/layout/default"/>
    <dgm:cxn modelId="{0793C679-9992-41D2-BC4D-8CED5705F203}" type="presOf" srcId="{213E2E33-3F3C-4294-B531-24E3577D2A2F}" destId="{D429C8F6-8621-4A4A-9561-6A9EDAB64E69}" srcOrd="0" destOrd="0" presId="urn:microsoft.com/office/officeart/2005/8/layout/default"/>
    <dgm:cxn modelId="{1A8E2089-1013-4E55-956F-C669930D3748}" srcId="{E9992972-A1C3-4464-A3BE-DBA4FCD9F8C0}" destId="{213E2E33-3F3C-4294-B531-24E3577D2A2F}" srcOrd="4" destOrd="0" parTransId="{91A6D465-62C1-44E6-8DD0-0F3D0A0E5C9A}" sibTransId="{361FD20E-F062-486A-B4C3-88C774649362}"/>
    <dgm:cxn modelId="{D2C5A794-04FA-4D1A-A874-35ECD2BBB494}" type="presOf" srcId="{AFC9B6B1-D065-4CEA-A080-E209248AA59E}" destId="{5D8CC3C7-F761-4510-97D4-6DFC6DA97533}" srcOrd="0" destOrd="0" presId="urn:microsoft.com/office/officeart/2005/8/layout/default"/>
    <dgm:cxn modelId="{45F9BF9A-DCAE-4CCF-AA7E-3038BD070239}" srcId="{E9992972-A1C3-4464-A3BE-DBA4FCD9F8C0}" destId="{0B6C9C8D-A3A4-49E9-B2B2-9689F5E6451A}" srcOrd="3" destOrd="0" parTransId="{483DF7C1-3AEF-462A-982A-B51FF96F0E99}" sibTransId="{5F23EDF2-342C-41F3-8FED-58E523A8E07B}"/>
    <dgm:cxn modelId="{2A3793B2-ED13-49C9-BEFE-C22435104BA6}" srcId="{E9992972-A1C3-4464-A3BE-DBA4FCD9F8C0}" destId="{CAAEF4A7-C8EA-45B1-9151-A58C0F962095}" srcOrd="6" destOrd="0" parTransId="{C3AEC21C-C5C9-4869-A74D-19E10F4BBD80}" sibTransId="{E3C2201E-0614-4D80-8ACE-FE847944B418}"/>
    <dgm:cxn modelId="{464F1FC9-174C-495E-9DF7-05776460898A}" type="presOf" srcId="{78E14599-845F-4D5F-BC70-F2DAA157C267}" destId="{CD726D79-6791-433B-9387-165108FFE662}" srcOrd="0" destOrd="0" presId="urn:microsoft.com/office/officeart/2005/8/layout/default"/>
    <dgm:cxn modelId="{55CF08D8-11CE-4DC3-84E2-FBC21DE2F6F7}" srcId="{E9992972-A1C3-4464-A3BE-DBA4FCD9F8C0}" destId="{AFC9B6B1-D065-4CEA-A080-E209248AA59E}" srcOrd="7" destOrd="0" parTransId="{905430F8-00E4-4A2B-87C8-2AF3AEE10A72}" sibTransId="{C8C39985-5673-4604-ACA4-3E1FA80FDB06}"/>
    <dgm:cxn modelId="{F4594FD9-4D43-4BD6-B541-072C2EBCFA4C}" srcId="{E9992972-A1C3-4464-A3BE-DBA4FCD9F8C0}" destId="{AE65EC90-3DF9-4D91-BFF3-FB878F636E39}" srcOrd="5" destOrd="0" parTransId="{F489DA20-133A-4F8A-9114-31830BBC7DCB}" sibTransId="{05A8AE6F-CE04-4CEE-9A5B-7159CEC58998}"/>
    <dgm:cxn modelId="{CA46FCED-749D-474A-815D-97DE6C3F1A04}" type="presOf" srcId="{0B6C9C8D-A3A4-49E9-B2B2-9689F5E6451A}" destId="{78F3636E-4596-420E-8EC9-236B64CC37D6}" srcOrd="0" destOrd="0" presId="urn:microsoft.com/office/officeart/2005/8/layout/default"/>
    <dgm:cxn modelId="{3AB1FDF5-DB07-410B-A884-EF44D7F2936E}" srcId="{E9992972-A1C3-4464-A3BE-DBA4FCD9F8C0}" destId="{1DA4D573-4FB9-4443-983F-99B61A9B13B8}" srcOrd="0" destOrd="0" parTransId="{671D766D-092E-4598-9633-7FF34F0909FB}" sibTransId="{CD0F5940-8B76-49F2-99AD-49D23DA23E98}"/>
    <dgm:cxn modelId="{4330EDFA-A8FA-404D-8559-3B1926742AFF}" type="presOf" srcId="{1DA4D573-4FB9-4443-983F-99B61A9B13B8}" destId="{F9490142-2806-4998-B447-957E4819884C}" srcOrd="0" destOrd="0" presId="urn:microsoft.com/office/officeart/2005/8/layout/default"/>
    <dgm:cxn modelId="{00267637-423B-4A12-BE6F-372785C8D78E}" type="presParOf" srcId="{9079418E-37A4-4C3C-9416-5E33A0197558}" destId="{F9490142-2806-4998-B447-957E4819884C}" srcOrd="0" destOrd="0" presId="urn:microsoft.com/office/officeart/2005/8/layout/default"/>
    <dgm:cxn modelId="{5F972B2E-34F4-4D6E-B686-08525BDBCD0D}" type="presParOf" srcId="{9079418E-37A4-4C3C-9416-5E33A0197558}" destId="{F6F59B96-8F04-49FD-899D-8B793ECD5BFF}" srcOrd="1" destOrd="0" presId="urn:microsoft.com/office/officeart/2005/8/layout/default"/>
    <dgm:cxn modelId="{996A1F5F-80C6-464C-97B0-7E2E4D78A5E2}" type="presParOf" srcId="{9079418E-37A4-4C3C-9416-5E33A0197558}" destId="{9DAAD92E-D6AD-4B7F-8DCB-D7787F3F76A8}" srcOrd="2" destOrd="0" presId="urn:microsoft.com/office/officeart/2005/8/layout/default"/>
    <dgm:cxn modelId="{3025D5A8-C30A-4DE5-9B0D-9CAC6A33BD28}" type="presParOf" srcId="{9079418E-37A4-4C3C-9416-5E33A0197558}" destId="{6F58F4A8-772B-4518-8CD9-6467251D1252}" srcOrd="3" destOrd="0" presId="urn:microsoft.com/office/officeart/2005/8/layout/default"/>
    <dgm:cxn modelId="{4192D637-590C-418F-B4E6-B6666124DD1E}" type="presParOf" srcId="{9079418E-37A4-4C3C-9416-5E33A0197558}" destId="{CD726D79-6791-433B-9387-165108FFE662}" srcOrd="4" destOrd="0" presId="urn:microsoft.com/office/officeart/2005/8/layout/default"/>
    <dgm:cxn modelId="{B756B04D-3CA5-4383-ACE9-04E5E4C5AA12}" type="presParOf" srcId="{9079418E-37A4-4C3C-9416-5E33A0197558}" destId="{AAFB44CD-17CC-4663-84C1-8717E44FB945}" srcOrd="5" destOrd="0" presId="urn:microsoft.com/office/officeart/2005/8/layout/default"/>
    <dgm:cxn modelId="{6AEC05E3-6B57-4B94-B090-EAEC5AF3FBB7}" type="presParOf" srcId="{9079418E-37A4-4C3C-9416-5E33A0197558}" destId="{78F3636E-4596-420E-8EC9-236B64CC37D6}" srcOrd="6" destOrd="0" presId="urn:microsoft.com/office/officeart/2005/8/layout/default"/>
    <dgm:cxn modelId="{AF976F5F-7175-4C66-BDF8-F734EA7A7C2D}" type="presParOf" srcId="{9079418E-37A4-4C3C-9416-5E33A0197558}" destId="{7B71496E-CD58-4E92-A1F7-AD318EA9377C}" srcOrd="7" destOrd="0" presId="urn:microsoft.com/office/officeart/2005/8/layout/default"/>
    <dgm:cxn modelId="{CFD840CE-6914-4B2D-963F-09A19B92A9E9}" type="presParOf" srcId="{9079418E-37A4-4C3C-9416-5E33A0197558}" destId="{D429C8F6-8621-4A4A-9561-6A9EDAB64E69}" srcOrd="8" destOrd="0" presId="urn:microsoft.com/office/officeart/2005/8/layout/default"/>
    <dgm:cxn modelId="{39B3061D-8797-48B6-8186-C2CAD776B887}" type="presParOf" srcId="{9079418E-37A4-4C3C-9416-5E33A0197558}" destId="{6F32BFAC-AA62-49BF-9561-432A5D119BF0}" srcOrd="9" destOrd="0" presId="urn:microsoft.com/office/officeart/2005/8/layout/default"/>
    <dgm:cxn modelId="{CEC2F36B-D2ED-46FA-A6D9-9421CE1B23D8}" type="presParOf" srcId="{9079418E-37A4-4C3C-9416-5E33A0197558}" destId="{6782265E-8601-4047-A632-B3E1B8883F25}" srcOrd="10" destOrd="0" presId="urn:microsoft.com/office/officeart/2005/8/layout/default"/>
    <dgm:cxn modelId="{38120321-CCD3-49B6-955A-1E4C46DBD754}" type="presParOf" srcId="{9079418E-37A4-4C3C-9416-5E33A0197558}" destId="{26BFF048-03FD-456B-B7CC-68A81E93AAD3}" srcOrd="11" destOrd="0" presId="urn:microsoft.com/office/officeart/2005/8/layout/default"/>
    <dgm:cxn modelId="{A616071B-C494-408B-A8CB-F73BCD20DF07}" type="presParOf" srcId="{9079418E-37A4-4C3C-9416-5E33A0197558}" destId="{09AC0722-3D5F-4354-86A3-F425339A95EF}" srcOrd="12" destOrd="0" presId="urn:microsoft.com/office/officeart/2005/8/layout/default"/>
    <dgm:cxn modelId="{859C2340-5E3B-43F3-86A2-CEA6AFCE6BA5}" type="presParOf" srcId="{9079418E-37A4-4C3C-9416-5E33A0197558}" destId="{720AE3C1-0342-438A-AF8C-66B30616EED9}" srcOrd="13" destOrd="0" presId="urn:microsoft.com/office/officeart/2005/8/layout/default"/>
    <dgm:cxn modelId="{F1899F2F-F4D3-47F8-92C8-817121101C90}" type="presParOf" srcId="{9079418E-37A4-4C3C-9416-5E33A0197558}" destId="{5D8CC3C7-F761-4510-97D4-6DFC6DA97533}" srcOrd="14"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C9F8B0F-B81C-43D9-B65B-1366432C9A0D}"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GB"/>
        </a:p>
      </dgm:t>
    </dgm:pt>
    <dgm:pt modelId="{3658B7D9-9DB0-4A72-946C-646F0CFFCEB9}">
      <dgm:prSet/>
      <dgm:spPr/>
      <dgm:t>
        <a:bodyPr/>
        <a:lstStyle/>
        <a:p>
          <a:r>
            <a:rPr lang="en-GB" dirty="0"/>
            <a:t>Full Systematic Review beyond budget and timescale, so Rapid Evidence Assessment selected as methodology, with broadly qualitative approach using narrative synthesis</a:t>
          </a:r>
        </a:p>
      </dgm:t>
      <dgm:extLst>
        <a:ext uri="{E40237B7-FDA0-4F09-8148-C483321AD2D9}">
          <dgm14:cNvPr xmlns:dgm14="http://schemas.microsoft.com/office/drawing/2010/diagram" id="0" name="" descr="SmartArt showing text:&#10;•Full Systematic Review beyond budget and timescale, so Rapid Evidence Assessment selected as methodology, with broadly qualitative approach using narrative synthesis"/>
        </a:ext>
      </dgm:extLst>
    </dgm:pt>
    <dgm:pt modelId="{F0FF0F1E-F0C7-4954-99F7-C8CD3FB508AD}" type="parTrans" cxnId="{7DD0D890-5BBC-4F1F-A72E-2E94D0445165}">
      <dgm:prSet/>
      <dgm:spPr/>
      <dgm:t>
        <a:bodyPr/>
        <a:lstStyle/>
        <a:p>
          <a:endParaRPr lang="en-GB"/>
        </a:p>
      </dgm:t>
    </dgm:pt>
    <dgm:pt modelId="{8C4D5C05-3D4B-47CD-92E9-F8D238B75321}" type="sibTrans" cxnId="{7DD0D890-5BBC-4F1F-A72E-2E94D0445165}">
      <dgm:prSet/>
      <dgm:spPr/>
      <dgm:t>
        <a:bodyPr/>
        <a:lstStyle/>
        <a:p>
          <a:endParaRPr lang="en-GB"/>
        </a:p>
      </dgm:t>
    </dgm:pt>
    <dgm:pt modelId="{C1A0BB92-38EC-410D-AE12-0DFC7EAC2F35}">
      <dgm:prSet/>
      <dgm:spPr/>
      <dgm:t>
        <a:bodyPr/>
        <a:lstStyle/>
        <a:p>
          <a:r>
            <a:rPr lang="en-GB" dirty="0"/>
            <a:t>PICO tool produced this Research Question: </a:t>
          </a:r>
          <a:r>
            <a:rPr lang="en-GB" b="1" i="1" dirty="0"/>
            <a:t>‘In those with MSK, diabetes or respiratory disease (P), what has been the effect of “Personalised Care” [as defined by the universal model of personalised care] (I) on health utilisation, clinical outcomes, wellbeing outcomes, patient experience &amp; safety (O)?’</a:t>
          </a:r>
          <a:endParaRPr lang="en-GB" dirty="0"/>
        </a:p>
      </dgm:t>
      <dgm:extLst>
        <a:ext uri="{E40237B7-FDA0-4F09-8148-C483321AD2D9}">
          <dgm14:cNvPr xmlns:dgm14="http://schemas.microsoft.com/office/drawing/2010/diagram" id="0" name="" descr="SmartArt showing text:&#10;•PICO tool produced this Research Question: ‘In those with MSK, diabetes or respiratory disease (P), what has been the effect of “Personalised Care” [as defined by the universal model of personalised care] (I) on health utilisation, clinical outcomes, wellbeing outcomes, patient experience &amp; safety (O)?’"/>
        </a:ext>
      </dgm:extLst>
    </dgm:pt>
    <dgm:pt modelId="{ACF851D8-4F10-4913-A027-ECF5C1F6B9F8}" type="parTrans" cxnId="{6A73F79B-331A-4EAC-93E0-D868765990D7}">
      <dgm:prSet/>
      <dgm:spPr/>
      <dgm:t>
        <a:bodyPr/>
        <a:lstStyle/>
        <a:p>
          <a:endParaRPr lang="en-GB"/>
        </a:p>
      </dgm:t>
    </dgm:pt>
    <dgm:pt modelId="{6FFEAA7F-24E9-4112-A21E-617C7990B2B8}" type="sibTrans" cxnId="{6A73F79B-331A-4EAC-93E0-D868765990D7}">
      <dgm:prSet/>
      <dgm:spPr/>
      <dgm:t>
        <a:bodyPr/>
        <a:lstStyle/>
        <a:p>
          <a:endParaRPr lang="en-GB"/>
        </a:p>
      </dgm:t>
    </dgm:pt>
    <dgm:pt modelId="{312B9167-CA15-4FE8-A1AA-037076B52761}">
      <dgm:prSet/>
      <dgm:spPr/>
      <dgm:t>
        <a:bodyPr/>
        <a:lstStyle/>
        <a:p>
          <a:r>
            <a:rPr lang="en-GB" dirty="0"/>
            <a:t>Search strings developed with input from SMEs, using wildcards and Boolean operators</a:t>
          </a:r>
        </a:p>
      </dgm:t>
      <dgm:extLst>
        <a:ext uri="{E40237B7-FDA0-4F09-8148-C483321AD2D9}">
          <dgm14:cNvPr xmlns:dgm14="http://schemas.microsoft.com/office/drawing/2010/diagram" id="0" name="" descr="SmartArt showing text:&#10;•Search strings developed with input from SMEs, using wildcards and Boolean operators"/>
        </a:ext>
      </dgm:extLst>
    </dgm:pt>
    <dgm:pt modelId="{54BCCAA4-43AA-46C4-ADD4-AA24F54D1C77}" type="parTrans" cxnId="{6041D0FD-AF9D-45C6-ACDE-2DEC983CA414}">
      <dgm:prSet/>
      <dgm:spPr/>
      <dgm:t>
        <a:bodyPr/>
        <a:lstStyle/>
        <a:p>
          <a:endParaRPr lang="en-GB"/>
        </a:p>
      </dgm:t>
    </dgm:pt>
    <dgm:pt modelId="{6C6220E2-0511-4DA6-B837-61E853D59CB9}" type="sibTrans" cxnId="{6041D0FD-AF9D-45C6-ACDE-2DEC983CA414}">
      <dgm:prSet/>
      <dgm:spPr/>
      <dgm:t>
        <a:bodyPr/>
        <a:lstStyle/>
        <a:p>
          <a:endParaRPr lang="en-GB"/>
        </a:p>
      </dgm:t>
    </dgm:pt>
    <dgm:pt modelId="{5598BDA4-D9AB-4AE4-9ACA-8C5901ED2F59}">
      <dgm:prSet/>
      <dgm:spPr/>
      <dgm:t>
        <a:bodyPr/>
        <a:lstStyle/>
        <a:p>
          <a:r>
            <a:rPr lang="en-GB" dirty="0"/>
            <a:t>On academic advice, we limited our search to Embase, Medline and the Cochrane Library</a:t>
          </a:r>
        </a:p>
      </dgm:t>
      <dgm:extLst>
        <a:ext uri="{E40237B7-FDA0-4F09-8148-C483321AD2D9}">
          <dgm14:cNvPr xmlns:dgm14="http://schemas.microsoft.com/office/drawing/2010/diagram" id="0" name="" descr="SmartArt showing text:&#10;•On academic advice, we limited our search to Embase, Medline and the Cochrane Library"/>
        </a:ext>
      </dgm:extLst>
    </dgm:pt>
    <dgm:pt modelId="{D17D9BB1-3F01-488A-A5F4-3C94346C065A}" type="parTrans" cxnId="{28725117-D6E4-47FF-BAE5-F764BF50BF23}">
      <dgm:prSet/>
      <dgm:spPr/>
      <dgm:t>
        <a:bodyPr/>
        <a:lstStyle/>
        <a:p>
          <a:endParaRPr lang="en-GB"/>
        </a:p>
      </dgm:t>
    </dgm:pt>
    <dgm:pt modelId="{755A037A-F853-44D7-AADB-D80CF97A80F3}" type="sibTrans" cxnId="{28725117-D6E4-47FF-BAE5-F764BF50BF23}">
      <dgm:prSet/>
      <dgm:spPr/>
      <dgm:t>
        <a:bodyPr/>
        <a:lstStyle/>
        <a:p>
          <a:endParaRPr lang="en-GB"/>
        </a:p>
      </dgm:t>
    </dgm:pt>
    <dgm:pt modelId="{1C19C01C-DF80-4F40-8A8C-C2BE63FEEBBB}">
      <dgm:prSet/>
      <dgm:spPr/>
      <dgm:t>
        <a:bodyPr/>
        <a:lstStyle/>
        <a:p>
          <a:r>
            <a:rPr lang="en-GB" dirty="0"/>
            <a:t>Papers under review were limited to Systematic Reviews and Meta-analyses to limit numbers</a:t>
          </a:r>
        </a:p>
      </dgm:t>
      <dgm:extLst>
        <a:ext uri="{E40237B7-FDA0-4F09-8148-C483321AD2D9}">
          <dgm14:cNvPr xmlns:dgm14="http://schemas.microsoft.com/office/drawing/2010/diagram" id="0" name="" descr="SmartArt showing text:&#10;•Papers under review were limited to Systematic Reviews and Meta-analyses to limit numbers"/>
        </a:ext>
      </dgm:extLst>
    </dgm:pt>
    <dgm:pt modelId="{C7A6F9BE-59DA-45FB-8820-494475776B46}" type="parTrans" cxnId="{73FFA2C0-F640-43D2-8BE1-E491CFAB5598}">
      <dgm:prSet/>
      <dgm:spPr/>
      <dgm:t>
        <a:bodyPr/>
        <a:lstStyle/>
        <a:p>
          <a:endParaRPr lang="en-GB"/>
        </a:p>
      </dgm:t>
    </dgm:pt>
    <dgm:pt modelId="{76F2FFEA-7FE7-4BE3-A907-87456C04C35E}" type="sibTrans" cxnId="{73FFA2C0-F640-43D2-8BE1-E491CFAB5598}">
      <dgm:prSet/>
      <dgm:spPr/>
      <dgm:t>
        <a:bodyPr/>
        <a:lstStyle/>
        <a:p>
          <a:endParaRPr lang="en-GB"/>
        </a:p>
      </dgm:t>
    </dgm:pt>
    <dgm:pt modelId="{CD931962-8679-41E7-8B09-D7E27D6F65E3}" type="pres">
      <dgm:prSet presAssocID="{4C9F8B0F-B81C-43D9-B65B-1366432C9A0D}" presName="diagram" presStyleCnt="0">
        <dgm:presLayoutVars>
          <dgm:dir/>
          <dgm:resizeHandles val="exact"/>
        </dgm:presLayoutVars>
      </dgm:prSet>
      <dgm:spPr/>
    </dgm:pt>
    <dgm:pt modelId="{5040A5C7-B74C-4F11-B717-DBF69814493F}" type="pres">
      <dgm:prSet presAssocID="{3658B7D9-9DB0-4A72-946C-646F0CFFCEB9}" presName="node" presStyleLbl="node1" presStyleIdx="0" presStyleCnt="5">
        <dgm:presLayoutVars>
          <dgm:bulletEnabled val="1"/>
        </dgm:presLayoutVars>
      </dgm:prSet>
      <dgm:spPr/>
    </dgm:pt>
    <dgm:pt modelId="{F90D91D6-6F05-4152-9D24-C646EED9BA0C}" type="pres">
      <dgm:prSet presAssocID="{8C4D5C05-3D4B-47CD-92E9-F8D238B75321}" presName="sibTrans" presStyleCnt="0"/>
      <dgm:spPr/>
    </dgm:pt>
    <dgm:pt modelId="{441C6752-F8F8-4A11-B611-EB1F3B505353}" type="pres">
      <dgm:prSet presAssocID="{1C19C01C-DF80-4F40-8A8C-C2BE63FEEBBB}" presName="node" presStyleLbl="node1" presStyleIdx="1" presStyleCnt="5">
        <dgm:presLayoutVars>
          <dgm:bulletEnabled val="1"/>
        </dgm:presLayoutVars>
      </dgm:prSet>
      <dgm:spPr/>
    </dgm:pt>
    <dgm:pt modelId="{EBB5ADB1-3881-4712-B2C0-6F6C002DAF74}" type="pres">
      <dgm:prSet presAssocID="{76F2FFEA-7FE7-4BE3-A907-87456C04C35E}" presName="sibTrans" presStyleCnt="0"/>
      <dgm:spPr/>
    </dgm:pt>
    <dgm:pt modelId="{2C27F05C-C0D3-42BA-A3C6-15024B04B282}" type="pres">
      <dgm:prSet presAssocID="{C1A0BB92-38EC-410D-AE12-0DFC7EAC2F35}" presName="node" presStyleLbl="node1" presStyleIdx="2" presStyleCnt="5">
        <dgm:presLayoutVars>
          <dgm:bulletEnabled val="1"/>
        </dgm:presLayoutVars>
      </dgm:prSet>
      <dgm:spPr/>
    </dgm:pt>
    <dgm:pt modelId="{AF261861-09A7-4293-BFCE-23586789B6FE}" type="pres">
      <dgm:prSet presAssocID="{6FFEAA7F-24E9-4112-A21E-617C7990B2B8}" presName="sibTrans" presStyleCnt="0"/>
      <dgm:spPr/>
    </dgm:pt>
    <dgm:pt modelId="{DF3B4039-0C20-448B-B769-4AC073ADEA43}" type="pres">
      <dgm:prSet presAssocID="{312B9167-CA15-4FE8-A1AA-037076B52761}" presName="node" presStyleLbl="node1" presStyleIdx="3" presStyleCnt="5">
        <dgm:presLayoutVars>
          <dgm:bulletEnabled val="1"/>
        </dgm:presLayoutVars>
      </dgm:prSet>
      <dgm:spPr/>
    </dgm:pt>
    <dgm:pt modelId="{60A3C66F-58A7-4F8C-965B-2EF04D6024C9}" type="pres">
      <dgm:prSet presAssocID="{6C6220E2-0511-4DA6-B837-61E853D59CB9}" presName="sibTrans" presStyleCnt="0"/>
      <dgm:spPr/>
    </dgm:pt>
    <dgm:pt modelId="{7BB51F17-6DE4-4E83-AA64-2A4981769D08}" type="pres">
      <dgm:prSet presAssocID="{5598BDA4-D9AB-4AE4-9ACA-8C5901ED2F59}" presName="node" presStyleLbl="node1" presStyleIdx="4" presStyleCnt="5">
        <dgm:presLayoutVars>
          <dgm:bulletEnabled val="1"/>
        </dgm:presLayoutVars>
      </dgm:prSet>
      <dgm:spPr/>
    </dgm:pt>
  </dgm:ptLst>
  <dgm:cxnLst>
    <dgm:cxn modelId="{59509A06-15F8-4BA3-AA41-8E451EFECA55}" type="presOf" srcId="{3658B7D9-9DB0-4A72-946C-646F0CFFCEB9}" destId="{5040A5C7-B74C-4F11-B717-DBF69814493F}" srcOrd="0" destOrd="0" presId="urn:microsoft.com/office/officeart/2005/8/layout/default"/>
    <dgm:cxn modelId="{A39AD507-C7C4-414B-8566-36CC96C4AC78}" type="presOf" srcId="{1C19C01C-DF80-4F40-8A8C-C2BE63FEEBBB}" destId="{441C6752-F8F8-4A11-B611-EB1F3B505353}" srcOrd="0" destOrd="0" presId="urn:microsoft.com/office/officeart/2005/8/layout/default"/>
    <dgm:cxn modelId="{28725117-D6E4-47FF-BAE5-F764BF50BF23}" srcId="{4C9F8B0F-B81C-43D9-B65B-1366432C9A0D}" destId="{5598BDA4-D9AB-4AE4-9ACA-8C5901ED2F59}" srcOrd="4" destOrd="0" parTransId="{D17D9BB1-3F01-488A-A5F4-3C94346C065A}" sibTransId="{755A037A-F853-44D7-AADB-D80CF97A80F3}"/>
    <dgm:cxn modelId="{96ED794C-0F36-4765-AE66-841254398856}" type="presOf" srcId="{4C9F8B0F-B81C-43D9-B65B-1366432C9A0D}" destId="{CD931962-8679-41E7-8B09-D7E27D6F65E3}" srcOrd="0" destOrd="0" presId="urn:microsoft.com/office/officeart/2005/8/layout/default"/>
    <dgm:cxn modelId="{6F756470-2A3A-4303-B82F-ACC6826AF42E}" type="presOf" srcId="{5598BDA4-D9AB-4AE4-9ACA-8C5901ED2F59}" destId="{7BB51F17-6DE4-4E83-AA64-2A4981769D08}" srcOrd="0" destOrd="0" presId="urn:microsoft.com/office/officeart/2005/8/layout/default"/>
    <dgm:cxn modelId="{7DD0D890-5BBC-4F1F-A72E-2E94D0445165}" srcId="{4C9F8B0F-B81C-43D9-B65B-1366432C9A0D}" destId="{3658B7D9-9DB0-4A72-946C-646F0CFFCEB9}" srcOrd="0" destOrd="0" parTransId="{F0FF0F1E-F0C7-4954-99F7-C8CD3FB508AD}" sibTransId="{8C4D5C05-3D4B-47CD-92E9-F8D238B75321}"/>
    <dgm:cxn modelId="{6A73F79B-331A-4EAC-93E0-D868765990D7}" srcId="{4C9F8B0F-B81C-43D9-B65B-1366432C9A0D}" destId="{C1A0BB92-38EC-410D-AE12-0DFC7EAC2F35}" srcOrd="2" destOrd="0" parTransId="{ACF851D8-4F10-4913-A027-ECF5C1F6B9F8}" sibTransId="{6FFEAA7F-24E9-4112-A21E-617C7990B2B8}"/>
    <dgm:cxn modelId="{73FFA2C0-F640-43D2-8BE1-E491CFAB5598}" srcId="{4C9F8B0F-B81C-43D9-B65B-1366432C9A0D}" destId="{1C19C01C-DF80-4F40-8A8C-C2BE63FEEBBB}" srcOrd="1" destOrd="0" parTransId="{C7A6F9BE-59DA-45FB-8820-494475776B46}" sibTransId="{76F2FFEA-7FE7-4BE3-A907-87456C04C35E}"/>
    <dgm:cxn modelId="{39E69BE5-172B-4367-AA60-E326878E8ACB}" type="presOf" srcId="{312B9167-CA15-4FE8-A1AA-037076B52761}" destId="{DF3B4039-0C20-448B-B769-4AC073ADEA43}" srcOrd="0" destOrd="0" presId="urn:microsoft.com/office/officeart/2005/8/layout/default"/>
    <dgm:cxn modelId="{D6ECB8EB-30B5-492D-9C10-7D9B5EF62036}" type="presOf" srcId="{C1A0BB92-38EC-410D-AE12-0DFC7EAC2F35}" destId="{2C27F05C-C0D3-42BA-A3C6-15024B04B282}" srcOrd="0" destOrd="0" presId="urn:microsoft.com/office/officeart/2005/8/layout/default"/>
    <dgm:cxn modelId="{6041D0FD-AF9D-45C6-ACDE-2DEC983CA414}" srcId="{4C9F8B0F-B81C-43D9-B65B-1366432C9A0D}" destId="{312B9167-CA15-4FE8-A1AA-037076B52761}" srcOrd="3" destOrd="0" parTransId="{54BCCAA4-43AA-46C4-ADD4-AA24F54D1C77}" sibTransId="{6C6220E2-0511-4DA6-B837-61E853D59CB9}"/>
    <dgm:cxn modelId="{A77884D5-AB38-4322-B997-65EB8EFEB645}" type="presParOf" srcId="{CD931962-8679-41E7-8B09-D7E27D6F65E3}" destId="{5040A5C7-B74C-4F11-B717-DBF69814493F}" srcOrd="0" destOrd="0" presId="urn:microsoft.com/office/officeart/2005/8/layout/default"/>
    <dgm:cxn modelId="{9502EA8F-8F38-4A57-9A08-9FAEC4034867}" type="presParOf" srcId="{CD931962-8679-41E7-8B09-D7E27D6F65E3}" destId="{F90D91D6-6F05-4152-9D24-C646EED9BA0C}" srcOrd="1" destOrd="0" presId="urn:microsoft.com/office/officeart/2005/8/layout/default"/>
    <dgm:cxn modelId="{25CBB422-C933-4E72-9890-75E2A5C0B8E9}" type="presParOf" srcId="{CD931962-8679-41E7-8B09-D7E27D6F65E3}" destId="{441C6752-F8F8-4A11-B611-EB1F3B505353}" srcOrd="2" destOrd="0" presId="urn:microsoft.com/office/officeart/2005/8/layout/default"/>
    <dgm:cxn modelId="{9AD42B27-449B-40B5-86C3-763EA5256EB5}" type="presParOf" srcId="{CD931962-8679-41E7-8B09-D7E27D6F65E3}" destId="{EBB5ADB1-3881-4712-B2C0-6F6C002DAF74}" srcOrd="3" destOrd="0" presId="urn:microsoft.com/office/officeart/2005/8/layout/default"/>
    <dgm:cxn modelId="{ABDB4227-1F84-420C-8248-FD8CC2A45772}" type="presParOf" srcId="{CD931962-8679-41E7-8B09-D7E27D6F65E3}" destId="{2C27F05C-C0D3-42BA-A3C6-15024B04B282}" srcOrd="4" destOrd="0" presId="urn:microsoft.com/office/officeart/2005/8/layout/default"/>
    <dgm:cxn modelId="{78E6269E-F57D-4764-94D7-25B86D9B266B}" type="presParOf" srcId="{CD931962-8679-41E7-8B09-D7E27D6F65E3}" destId="{AF261861-09A7-4293-BFCE-23586789B6FE}" srcOrd="5" destOrd="0" presId="urn:microsoft.com/office/officeart/2005/8/layout/default"/>
    <dgm:cxn modelId="{764C953A-A3A4-4BA1-9876-97669C57AE6E}" type="presParOf" srcId="{CD931962-8679-41E7-8B09-D7E27D6F65E3}" destId="{DF3B4039-0C20-448B-B769-4AC073ADEA43}" srcOrd="6" destOrd="0" presId="urn:microsoft.com/office/officeart/2005/8/layout/default"/>
    <dgm:cxn modelId="{664EF3EC-E217-4155-AB0F-131A439A5FA2}" type="presParOf" srcId="{CD931962-8679-41E7-8B09-D7E27D6F65E3}" destId="{60A3C66F-58A7-4F8C-965B-2EF04D6024C9}" srcOrd="7" destOrd="0" presId="urn:microsoft.com/office/officeart/2005/8/layout/default"/>
    <dgm:cxn modelId="{F6F54A22-73A1-4444-BBEB-CD63792D4167}" type="presParOf" srcId="{CD931962-8679-41E7-8B09-D7E27D6F65E3}" destId="{7BB51F17-6DE4-4E83-AA64-2A4981769D08}" srcOrd="8"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3F4A388-409E-4FD8-9FC4-9C181259D058}" type="doc">
      <dgm:prSet loTypeId="urn:microsoft.com/office/officeart/2005/8/layout/default" loCatId="list" qsTypeId="urn:microsoft.com/office/officeart/2005/8/quickstyle/3d1" qsCatId="3D" csTypeId="urn:microsoft.com/office/officeart/2005/8/colors/accent1_4" csCatId="accent1" phldr="1"/>
      <dgm:spPr/>
      <dgm:t>
        <a:bodyPr/>
        <a:lstStyle/>
        <a:p>
          <a:endParaRPr lang="en-GB"/>
        </a:p>
      </dgm:t>
    </dgm:pt>
    <dgm:pt modelId="{77AC0035-1254-4AA1-952B-2293F9741349}">
      <dgm:prSet phldr="0"/>
      <dgm:spPr/>
      <dgm:t>
        <a:bodyPr/>
        <a:lstStyle/>
        <a:p>
          <a:pPr algn="l" rtl="0">
            <a:lnSpc>
              <a:spcPct val="110000"/>
            </a:lnSpc>
          </a:pPr>
          <a:r>
            <a:rPr lang="en-GB" dirty="0">
              <a:latin typeface="Arial"/>
              <a:cs typeface="Arial"/>
            </a:rPr>
            <a:t>Stage 1: Search the databases</a:t>
          </a:r>
        </a:p>
      </dgm:t>
      <dgm:extLst>
        <a:ext uri="{E40237B7-FDA0-4F09-8148-C483321AD2D9}">
          <dgm14:cNvPr xmlns:dgm14="http://schemas.microsoft.com/office/drawing/2010/diagram" id="0" name="" descr="SmartArt showing text:&#10;•Stage 1: Search the databases&#10;Papers found:&#10;Diabetes = 407&#10;MSK = 304&#10;COPD = 129"/>
        </a:ext>
      </dgm:extLst>
    </dgm:pt>
    <dgm:pt modelId="{791D449D-9428-49BB-A8E9-E024E2DF857A}" type="parTrans" cxnId="{C3B9CC51-C86A-4F56-8F52-40C916A5ED03}">
      <dgm:prSet/>
      <dgm:spPr/>
      <dgm:t>
        <a:bodyPr/>
        <a:lstStyle/>
        <a:p>
          <a:endParaRPr lang="en-GB"/>
        </a:p>
      </dgm:t>
    </dgm:pt>
    <dgm:pt modelId="{7AA30759-0832-45FD-8C95-6A86CE4C31E3}" type="sibTrans" cxnId="{C3B9CC51-C86A-4F56-8F52-40C916A5ED03}">
      <dgm:prSet/>
      <dgm:spPr/>
      <dgm:t>
        <a:bodyPr/>
        <a:lstStyle/>
        <a:p>
          <a:endParaRPr lang="en-GB"/>
        </a:p>
      </dgm:t>
    </dgm:pt>
    <dgm:pt modelId="{795CCA90-8A04-48C7-BA0B-DF6A0A15233E}">
      <dgm:prSet phldr="0"/>
      <dgm:spPr/>
      <dgm:t>
        <a:bodyPr/>
        <a:lstStyle/>
        <a:p>
          <a:pPr algn="l" rtl="0">
            <a:lnSpc>
              <a:spcPct val="110000"/>
            </a:lnSpc>
          </a:pPr>
          <a:r>
            <a:rPr lang="en-GB" dirty="0">
              <a:latin typeface="Arial"/>
              <a:cs typeface="Arial"/>
            </a:rPr>
            <a:t>Papers found:</a:t>
          </a:r>
        </a:p>
      </dgm:t>
    </dgm:pt>
    <dgm:pt modelId="{36DD4E72-58ED-4A0B-BBFE-A7C83B82B1DE}" type="parTrans" cxnId="{B75C806C-2062-47C0-95CF-9CCA59B74B7F}">
      <dgm:prSet/>
      <dgm:spPr/>
      <dgm:t>
        <a:bodyPr/>
        <a:lstStyle/>
        <a:p>
          <a:endParaRPr lang="en-GB"/>
        </a:p>
      </dgm:t>
    </dgm:pt>
    <dgm:pt modelId="{E24E3A10-3735-4EC8-AF62-B05F1379517B}" type="sibTrans" cxnId="{B75C806C-2062-47C0-95CF-9CCA59B74B7F}">
      <dgm:prSet/>
      <dgm:spPr/>
      <dgm:t>
        <a:bodyPr/>
        <a:lstStyle/>
        <a:p>
          <a:endParaRPr lang="en-GB"/>
        </a:p>
      </dgm:t>
    </dgm:pt>
    <dgm:pt modelId="{EB1A928B-2123-4F18-B902-BA36F24FAB03}">
      <dgm:prSet phldr="0"/>
      <dgm:spPr/>
      <dgm:t>
        <a:bodyPr/>
        <a:lstStyle/>
        <a:p>
          <a:pPr algn="l" rtl="0">
            <a:lnSpc>
              <a:spcPct val="110000"/>
            </a:lnSpc>
          </a:pPr>
          <a:r>
            <a:rPr lang="en-GB" dirty="0">
              <a:latin typeface="Arial"/>
              <a:cs typeface="Arial"/>
            </a:rPr>
            <a:t>Diabetes = 407</a:t>
          </a:r>
        </a:p>
      </dgm:t>
    </dgm:pt>
    <dgm:pt modelId="{F545B5DF-33AB-4441-B9B7-4E2AF1E4CD9C}" type="parTrans" cxnId="{2DA66E52-471A-4372-AF4F-3D740C08301C}">
      <dgm:prSet/>
      <dgm:spPr/>
      <dgm:t>
        <a:bodyPr/>
        <a:lstStyle/>
        <a:p>
          <a:endParaRPr lang="en-GB"/>
        </a:p>
      </dgm:t>
    </dgm:pt>
    <dgm:pt modelId="{535B90AF-4E53-484B-B8DA-978818ECBCC6}" type="sibTrans" cxnId="{2DA66E52-471A-4372-AF4F-3D740C08301C}">
      <dgm:prSet/>
      <dgm:spPr/>
      <dgm:t>
        <a:bodyPr/>
        <a:lstStyle/>
        <a:p>
          <a:endParaRPr lang="en-GB"/>
        </a:p>
      </dgm:t>
    </dgm:pt>
    <dgm:pt modelId="{E8EC8C3C-4AF6-4DF2-9D9D-B7AA235D3A84}">
      <dgm:prSet phldr="0"/>
      <dgm:spPr/>
      <dgm:t>
        <a:bodyPr/>
        <a:lstStyle/>
        <a:p>
          <a:pPr algn="l" rtl="0">
            <a:lnSpc>
              <a:spcPct val="110000"/>
            </a:lnSpc>
          </a:pPr>
          <a:r>
            <a:rPr lang="en-GB" dirty="0">
              <a:latin typeface="Arial"/>
              <a:cs typeface="Arial"/>
            </a:rPr>
            <a:t>MSK = 304</a:t>
          </a:r>
        </a:p>
      </dgm:t>
    </dgm:pt>
    <dgm:pt modelId="{D3A417CC-3608-4A8D-9F13-69C64D5D266C}" type="parTrans" cxnId="{C0695864-F1DC-486E-89E4-5A47D4345D4A}">
      <dgm:prSet/>
      <dgm:spPr/>
      <dgm:t>
        <a:bodyPr/>
        <a:lstStyle/>
        <a:p>
          <a:endParaRPr lang="en-GB"/>
        </a:p>
      </dgm:t>
    </dgm:pt>
    <dgm:pt modelId="{F0C58B6A-01A4-45BD-9F2B-F037462EE53A}" type="sibTrans" cxnId="{C0695864-F1DC-486E-89E4-5A47D4345D4A}">
      <dgm:prSet/>
      <dgm:spPr/>
      <dgm:t>
        <a:bodyPr/>
        <a:lstStyle/>
        <a:p>
          <a:endParaRPr lang="en-GB"/>
        </a:p>
      </dgm:t>
    </dgm:pt>
    <dgm:pt modelId="{C87460E6-5991-4F26-AEE9-20CB4DF056FB}">
      <dgm:prSet phldr="0"/>
      <dgm:spPr/>
      <dgm:t>
        <a:bodyPr/>
        <a:lstStyle/>
        <a:p>
          <a:pPr algn="l" rtl="0">
            <a:lnSpc>
              <a:spcPct val="110000"/>
            </a:lnSpc>
          </a:pPr>
          <a:r>
            <a:rPr lang="en-GB" dirty="0">
              <a:latin typeface="Arial"/>
              <a:cs typeface="Arial"/>
            </a:rPr>
            <a:t>COPD = 129</a:t>
          </a:r>
        </a:p>
      </dgm:t>
    </dgm:pt>
    <dgm:pt modelId="{223BC588-BCBD-4CF9-AB9B-04BE17141947}" type="parTrans" cxnId="{AD17743F-D356-4AEC-9035-1D568C6CCC4D}">
      <dgm:prSet/>
      <dgm:spPr/>
      <dgm:t>
        <a:bodyPr/>
        <a:lstStyle/>
        <a:p>
          <a:endParaRPr lang="en-GB"/>
        </a:p>
      </dgm:t>
    </dgm:pt>
    <dgm:pt modelId="{A99F30A1-B6EF-4CA7-AEBC-D8528811F60B}" type="sibTrans" cxnId="{AD17743F-D356-4AEC-9035-1D568C6CCC4D}">
      <dgm:prSet/>
      <dgm:spPr/>
      <dgm:t>
        <a:bodyPr/>
        <a:lstStyle/>
        <a:p>
          <a:endParaRPr lang="en-GB"/>
        </a:p>
      </dgm:t>
    </dgm:pt>
    <dgm:pt modelId="{514AB6C5-EE02-4ACA-B3D0-CA2E74188652}">
      <dgm:prSet phldr="0"/>
      <dgm:spPr/>
      <dgm:t>
        <a:bodyPr/>
        <a:lstStyle/>
        <a:p>
          <a:pPr algn="l" rtl="0">
            <a:lnSpc>
              <a:spcPct val="110000"/>
            </a:lnSpc>
          </a:pPr>
          <a:r>
            <a:rPr lang="en-GB" dirty="0">
              <a:latin typeface="Arial"/>
              <a:cs typeface="Arial"/>
            </a:rPr>
            <a:t>Stage 2: Initial screening (relevance scoring)</a:t>
          </a:r>
        </a:p>
      </dgm:t>
      <dgm:extLst>
        <a:ext uri="{E40237B7-FDA0-4F09-8148-C483321AD2D9}">
          <dgm14:cNvPr xmlns:dgm14="http://schemas.microsoft.com/office/drawing/2010/diagram" id="0" name="" descr="SmartArt showing text:&#10;•Stage 2: Initial screening (relevance scoring)&#10;Scored for relevance&#10;Papers left: &#10;Diabetes = 258&#10;MSK = 155&#10;COPD = 95"/>
        </a:ext>
      </dgm:extLst>
    </dgm:pt>
    <dgm:pt modelId="{9CCA9FD2-6A61-4D2E-AA5A-0C9BDB9AC2CA}" type="parTrans" cxnId="{4CC11EC0-7963-49AC-AB03-0383A59C580D}">
      <dgm:prSet/>
      <dgm:spPr/>
      <dgm:t>
        <a:bodyPr/>
        <a:lstStyle/>
        <a:p>
          <a:endParaRPr lang="en-GB"/>
        </a:p>
      </dgm:t>
    </dgm:pt>
    <dgm:pt modelId="{2CE480DD-BCE0-4449-9AF2-47DC702688B9}" type="sibTrans" cxnId="{4CC11EC0-7963-49AC-AB03-0383A59C580D}">
      <dgm:prSet/>
      <dgm:spPr/>
      <dgm:t>
        <a:bodyPr/>
        <a:lstStyle/>
        <a:p>
          <a:endParaRPr lang="en-GB"/>
        </a:p>
      </dgm:t>
    </dgm:pt>
    <dgm:pt modelId="{C7AE52C2-4F40-406B-939C-F4B9A4B9FAC7}">
      <dgm:prSet phldr="0"/>
      <dgm:spPr/>
      <dgm:t>
        <a:bodyPr/>
        <a:lstStyle/>
        <a:p>
          <a:pPr algn="l" rtl="0">
            <a:lnSpc>
              <a:spcPct val="110000"/>
            </a:lnSpc>
          </a:pPr>
          <a:r>
            <a:rPr lang="en-GB" dirty="0">
              <a:latin typeface="Arial"/>
              <a:cs typeface="Arial"/>
            </a:rPr>
            <a:t>Papers left: </a:t>
          </a:r>
        </a:p>
      </dgm:t>
    </dgm:pt>
    <dgm:pt modelId="{413AB157-707B-4B0D-8FE5-1BB28738F651}" type="parTrans" cxnId="{CA2F4DB2-99B7-419C-B24C-BCD139C43087}">
      <dgm:prSet/>
      <dgm:spPr/>
      <dgm:t>
        <a:bodyPr/>
        <a:lstStyle/>
        <a:p>
          <a:endParaRPr lang="en-GB"/>
        </a:p>
      </dgm:t>
    </dgm:pt>
    <dgm:pt modelId="{57F3C98A-2F72-4C5B-84E2-70D3D3E569A0}" type="sibTrans" cxnId="{CA2F4DB2-99B7-419C-B24C-BCD139C43087}">
      <dgm:prSet/>
      <dgm:spPr/>
      <dgm:t>
        <a:bodyPr/>
        <a:lstStyle/>
        <a:p>
          <a:endParaRPr lang="en-GB"/>
        </a:p>
      </dgm:t>
    </dgm:pt>
    <dgm:pt modelId="{81B245F7-160E-4ECB-BC36-480FBCEA44F0}">
      <dgm:prSet phldr="0"/>
      <dgm:spPr/>
      <dgm:t>
        <a:bodyPr/>
        <a:lstStyle/>
        <a:p>
          <a:pPr algn="l">
            <a:lnSpc>
              <a:spcPct val="110000"/>
            </a:lnSpc>
          </a:pPr>
          <a:r>
            <a:rPr lang="en-GB" dirty="0">
              <a:latin typeface="Arial"/>
              <a:cs typeface="Arial"/>
            </a:rPr>
            <a:t>COPD = 95</a:t>
          </a:r>
        </a:p>
      </dgm:t>
    </dgm:pt>
    <dgm:pt modelId="{F9E044D8-4194-43D0-B599-DF74F78A6D42}" type="parTrans" cxnId="{34D40322-E896-4093-A2AE-92F75D6CFBA1}">
      <dgm:prSet/>
      <dgm:spPr/>
      <dgm:t>
        <a:bodyPr/>
        <a:lstStyle/>
        <a:p>
          <a:endParaRPr lang="en-GB"/>
        </a:p>
      </dgm:t>
    </dgm:pt>
    <dgm:pt modelId="{EB61C32C-6B83-495A-A469-CD01E9AF9C3B}" type="sibTrans" cxnId="{34D40322-E896-4093-A2AE-92F75D6CFBA1}">
      <dgm:prSet/>
      <dgm:spPr/>
      <dgm:t>
        <a:bodyPr/>
        <a:lstStyle/>
        <a:p>
          <a:endParaRPr lang="en-GB"/>
        </a:p>
      </dgm:t>
    </dgm:pt>
    <dgm:pt modelId="{0FB35256-92B0-448A-8E4D-75EC84B1F43D}">
      <dgm:prSet phldr="0"/>
      <dgm:spPr/>
      <dgm:t>
        <a:bodyPr/>
        <a:lstStyle/>
        <a:p>
          <a:pPr algn="l" rtl="0">
            <a:lnSpc>
              <a:spcPct val="110000"/>
            </a:lnSpc>
          </a:pPr>
          <a:r>
            <a:rPr lang="en-GB" dirty="0">
              <a:latin typeface="Arial"/>
              <a:cs typeface="Arial"/>
            </a:rPr>
            <a:t>Diabetes = 258</a:t>
          </a:r>
          <a:endParaRPr lang="en-US" dirty="0">
            <a:latin typeface="Arial"/>
            <a:cs typeface="Arial"/>
          </a:endParaRPr>
        </a:p>
      </dgm:t>
    </dgm:pt>
    <dgm:pt modelId="{70041FCC-C0A9-46B2-A048-97F7486F8F12}" type="parTrans" cxnId="{F0631EC8-7F74-4A3F-AAEC-37EB821AC7E8}">
      <dgm:prSet/>
      <dgm:spPr/>
      <dgm:t>
        <a:bodyPr/>
        <a:lstStyle/>
        <a:p>
          <a:endParaRPr lang="en-GB"/>
        </a:p>
      </dgm:t>
    </dgm:pt>
    <dgm:pt modelId="{E6FB649E-05B0-4A4F-BF37-2EDD5BCB7B4D}" type="sibTrans" cxnId="{F0631EC8-7F74-4A3F-AAEC-37EB821AC7E8}">
      <dgm:prSet/>
      <dgm:spPr/>
      <dgm:t>
        <a:bodyPr/>
        <a:lstStyle/>
        <a:p>
          <a:endParaRPr lang="en-GB"/>
        </a:p>
      </dgm:t>
    </dgm:pt>
    <dgm:pt modelId="{59E4EB0E-5B97-42F7-B005-1DC4B96E5841}">
      <dgm:prSet phldr="0"/>
      <dgm:spPr/>
      <dgm:t>
        <a:bodyPr/>
        <a:lstStyle/>
        <a:p>
          <a:pPr algn="l">
            <a:lnSpc>
              <a:spcPct val="110000"/>
            </a:lnSpc>
          </a:pPr>
          <a:r>
            <a:rPr lang="en-GB" dirty="0">
              <a:latin typeface="Arial"/>
              <a:cs typeface="Arial"/>
            </a:rPr>
            <a:t>MSK = 155</a:t>
          </a:r>
          <a:endParaRPr lang="en-US" dirty="0">
            <a:latin typeface="Arial"/>
            <a:cs typeface="Arial"/>
          </a:endParaRPr>
        </a:p>
      </dgm:t>
    </dgm:pt>
    <dgm:pt modelId="{B518DBE1-E2AE-42DF-AC6C-4ECA760B1C5B}" type="parTrans" cxnId="{8434D752-884F-4B09-AD99-2794B22AD67D}">
      <dgm:prSet/>
      <dgm:spPr/>
      <dgm:t>
        <a:bodyPr/>
        <a:lstStyle/>
        <a:p>
          <a:endParaRPr lang="en-GB"/>
        </a:p>
      </dgm:t>
    </dgm:pt>
    <dgm:pt modelId="{08CB999D-84A5-485D-9A83-01F3F84709EE}" type="sibTrans" cxnId="{8434D752-884F-4B09-AD99-2794B22AD67D}">
      <dgm:prSet/>
      <dgm:spPr/>
      <dgm:t>
        <a:bodyPr/>
        <a:lstStyle/>
        <a:p>
          <a:endParaRPr lang="en-GB"/>
        </a:p>
      </dgm:t>
    </dgm:pt>
    <dgm:pt modelId="{451360DA-C1AE-4B72-856D-86BA3478C2E9}">
      <dgm:prSet phldr="0"/>
      <dgm:spPr/>
      <dgm:t>
        <a:bodyPr/>
        <a:lstStyle/>
        <a:p>
          <a:pPr algn="l" rtl="0">
            <a:lnSpc>
              <a:spcPct val="110000"/>
            </a:lnSpc>
          </a:pPr>
          <a:r>
            <a:rPr lang="en-GB" dirty="0">
              <a:latin typeface="Arial"/>
              <a:cs typeface="Arial"/>
            </a:rPr>
            <a:t>Stage 3: Longlisting (algorithmic search of abstracts)</a:t>
          </a:r>
        </a:p>
      </dgm:t>
      <dgm:extLst>
        <a:ext uri="{E40237B7-FDA0-4F09-8148-C483321AD2D9}">
          <dgm14:cNvPr xmlns:dgm14="http://schemas.microsoft.com/office/drawing/2010/diagram" id="0" name="" descr="SmartArt showing text:&#10;•Stage 3: Longlisting (algorithmic search of abstracts)&#10;Excel algorithm to identify relevant keywords within abstract&#10;Papers left:&#10;Diabetes = 33&#10;MSK = 19&#10;COPD = 13&#10;"/>
        </a:ext>
      </dgm:extLst>
    </dgm:pt>
    <dgm:pt modelId="{10AFFCCF-03DF-4A7F-90F7-D69861D3BE49}" type="parTrans" cxnId="{33D22443-39C3-41CF-80D9-F5164B507EB3}">
      <dgm:prSet/>
      <dgm:spPr/>
      <dgm:t>
        <a:bodyPr/>
        <a:lstStyle/>
        <a:p>
          <a:endParaRPr lang="en-GB"/>
        </a:p>
      </dgm:t>
    </dgm:pt>
    <dgm:pt modelId="{B616BB9C-51FB-4CD6-9EDA-AD20B9DCA1C2}" type="sibTrans" cxnId="{33D22443-39C3-41CF-80D9-F5164B507EB3}">
      <dgm:prSet/>
      <dgm:spPr/>
      <dgm:t>
        <a:bodyPr/>
        <a:lstStyle/>
        <a:p>
          <a:endParaRPr lang="en-GB"/>
        </a:p>
      </dgm:t>
    </dgm:pt>
    <dgm:pt modelId="{868AC6FC-5964-4D29-91B0-C539740C2C75}">
      <dgm:prSet phldr="0"/>
      <dgm:spPr/>
      <dgm:t>
        <a:bodyPr/>
        <a:lstStyle/>
        <a:p>
          <a:pPr algn="l" rtl="0">
            <a:lnSpc>
              <a:spcPct val="110000"/>
            </a:lnSpc>
          </a:pPr>
          <a:r>
            <a:rPr lang="en-GB" dirty="0">
              <a:latin typeface="Arial"/>
              <a:cs typeface="Arial"/>
            </a:rPr>
            <a:t>Papers left:</a:t>
          </a:r>
        </a:p>
      </dgm:t>
    </dgm:pt>
    <dgm:pt modelId="{625D7E77-8A57-42BE-8235-560387E79732}" type="parTrans" cxnId="{E70CA204-D1C2-4B44-9545-279FFFB8E477}">
      <dgm:prSet/>
      <dgm:spPr/>
      <dgm:t>
        <a:bodyPr/>
        <a:lstStyle/>
        <a:p>
          <a:endParaRPr lang="en-GB"/>
        </a:p>
      </dgm:t>
    </dgm:pt>
    <dgm:pt modelId="{4D31D028-7C20-45A8-AD3E-F19C308D8730}" type="sibTrans" cxnId="{E70CA204-D1C2-4B44-9545-279FFFB8E477}">
      <dgm:prSet/>
      <dgm:spPr/>
      <dgm:t>
        <a:bodyPr/>
        <a:lstStyle/>
        <a:p>
          <a:endParaRPr lang="en-GB"/>
        </a:p>
      </dgm:t>
    </dgm:pt>
    <dgm:pt modelId="{C8BBC7E1-747A-45B3-B4C4-F1AB21E690C2}">
      <dgm:prSet phldr="0"/>
      <dgm:spPr/>
      <dgm:t>
        <a:bodyPr/>
        <a:lstStyle/>
        <a:p>
          <a:pPr algn="l">
            <a:lnSpc>
              <a:spcPct val="110000"/>
            </a:lnSpc>
          </a:pPr>
          <a:r>
            <a:rPr lang="en-GB" dirty="0">
              <a:latin typeface="Arial"/>
              <a:cs typeface="Arial"/>
            </a:rPr>
            <a:t>COPD = 13</a:t>
          </a:r>
        </a:p>
      </dgm:t>
    </dgm:pt>
    <dgm:pt modelId="{CC96607C-5B02-43EE-95DF-4CAAA01F03A4}" type="parTrans" cxnId="{0C8B9BFA-A60F-472F-9682-1C729AC75AF6}">
      <dgm:prSet/>
      <dgm:spPr/>
      <dgm:t>
        <a:bodyPr/>
        <a:lstStyle/>
        <a:p>
          <a:endParaRPr lang="en-GB"/>
        </a:p>
      </dgm:t>
    </dgm:pt>
    <dgm:pt modelId="{31A1DC73-7FF4-41CE-8CCE-74BFD88F11E3}" type="sibTrans" cxnId="{0C8B9BFA-A60F-472F-9682-1C729AC75AF6}">
      <dgm:prSet/>
      <dgm:spPr/>
      <dgm:t>
        <a:bodyPr/>
        <a:lstStyle/>
        <a:p>
          <a:endParaRPr lang="en-GB"/>
        </a:p>
      </dgm:t>
    </dgm:pt>
    <dgm:pt modelId="{FD2AB5C1-6061-4CEF-8CFF-DE4F1DF7C2C8}">
      <dgm:prSet phldr="0"/>
      <dgm:spPr/>
      <dgm:t>
        <a:bodyPr/>
        <a:lstStyle/>
        <a:p>
          <a:pPr algn="l" rtl="0">
            <a:lnSpc>
              <a:spcPct val="110000"/>
            </a:lnSpc>
          </a:pPr>
          <a:r>
            <a:rPr lang="en-GB" dirty="0">
              <a:latin typeface="Arial"/>
              <a:cs typeface="Arial"/>
            </a:rPr>
            <a:t>Diabetes = 33</a:t>
          </a:r>
          <a:endParaRPr lang="en-US" dirty="0">
            <a:latin typeface="Arial"/>
            <a:cs typeface="Arial"/>
          </a:endParaRPr>
        </a:p>
      </dgm:t>
    </dgm:pt>
    <dgm:pt modelId="{9ED11CCB-6C5E-43C8-8A73-E81241A3B796}" type="parTrans" cxnId="{644642E9-781D-4777-89AA-3311E697778A}">
      <dgm:prSet/>
      <dgm:spPr/>
      <dgm:t>
        <a:bodyPr/>
        <a:lstStyle/>
        <a:p>
          <a:endParaRPr lang="en-GB"/>
        </a:p>
      </dgm:t>
    </dgm:pt>
    <dgm:pt modelId="{53A7F60C-D0CB-44CF-82E6-D4D292053CA9}" type="sibTrans" cxnId="{644642E9-781D-4777-89AA-3311E697778A}">
      <dgm:prSet/>
      <dgm:spPr/>
      <dgm:t>
        <a:bodyPr/>
        <a:lstStyle/>
        <a:p>
          <a:endParaRPr lang="en-GB"/>
        </a:p>
      </dgm:t>
    </dgm:pt>
    <dgm:pt modelId="{CDE559BC-74F5-4597-B3BC-0FED28C3B2CE}">
      <dgm:prSet phldr="0"/>
      <dgm:spPr/>
      <dgm:t>
        <a:bodyPr/>
        <a:lstStyle/>
        <a:p>
          <a:pPr algn="l">
            <a:lnSpc>
              <a:spcPct val="110000"/>
            </a:lnSpc>
          </a:pPr>
          <a:r>
            <a:rPr lang="en-GB" dirty="0">
              <a:latin typeface="Arial"/>
              <a:cs typeface="Arial"/>
            </a:rPr>
            <a:t>MSK = 19</a:t>
          </a:r>
          <a:endParaRPr lang="en-US" dirty="0">
            <a:latin typeface="Arial"/>
            <a:cs typeface="Arial"/>
          </a:endParaRPr>
        </a:p>
      </dgm:t>
    </dgm:pt>
    <dgm:pt modelId="{8C7EA9A9-D8D3-43D1-9090-0943A4E9ACEC}" type="parTrans" cxnId="{92D5D694-8269-4B03-B24F-E6DB88A0718B}">
      <dgm:prSet/>
      <dgm:spPr/>
      <dgm:t>
        <a:bodyPr/>
        <a:lstStyle/>
        <a:p>
          <a:endParaRPr lang="en-GB"/>
        </a:p>
      </dgm:t>
    </dgm:pt>
    <dgm:pt modelId="{D9A153DC-6ADF-4BA1-A07B-3D7F437EBB24}" type="sibTrans" cxnId="{92D5D694-8269-4B03-B24F-E6DB88A0718B}">
      <dgm:prSet/>
      <dgm:spPr/>
      <dgm:t>
        <a:bodyPr/>
        <a:lstStyle/>
        <a:p>
          <a:endParaRPr lang="en-GB"/>
        </a:p>
      </dgm:t>
    </dgm:pt>
    <dgm:pt modelId="{966624DF-DB18-43F1-B7BF-367F9CDE49F8}">
      <dgm:prSet phldr="0"/>
      <dgm:spPr/>
      <dgm:t>
        <a:bodyPr/>
        <a:lstStyle/>
        <a:p>
          <a:pPr algn="l" rtl="0">
            <a:lnSpc>
              <a:spcPct val="110000"/>
            </a:lnSpc>
          </a:pPr>
          <a:r>
            <a:rPr lang="en-GB" dirty="0">
              <a:latin typeface="Arial"/>
              <a:cs typeface="Arial"/>
            </a:rPr>
            <a:t>Stage 4: shortlisting</a:t>
          </a:r>
        </a:p>
      </dgm:t>
      <dgm:extLst>
        <a:ext uri="{E40237B7-FDA0-4F09-8148-C483321AD2D9}">
          <dgm14:cNvPr xmlns:dgm14="http://schemas.microsoft.com/office/drawing/2010/diagram" id="0" name="" descr="SmartArt showing text:&#10;•Stage 4: shortlisting&#10;Abstracts scanned for relevance&#10;Papers left:&#10;Diabetes = 19&#10;MSK = 15&#10;COPD = 5&#10;"/>
        </a:ext>
      </dgm:extLst>
    </dgm:pt>
    <dgm:pt modelId="{C96FE529-09B7-470D-939C-3ABB5B29EE3A}" type="parTrans" cxnId="{CF685FDD-A7AD-48C4-8A9C-DC9CBBF6DB02}">
      <dgm:prSet/>
      <dgm:spPr/>
      <dgm:t>
        <a:bodyPr/>
        <a:lstStyle/>
        <a:p>
          <a:endParaRPr lang="en-GB"/>
        </a:p>
      </dgm:t>
    </dgm:pt>
    <dgm:pt modelId="{D4CAD532-C00C-439C-8444-C9721D33CF34}" type="sibTrans" cxnId="{CF685FDD-A7AD-48C4-8A9C-DC9CBBF6DB02}">
      <dgm:prSet/>
      <dgm:spPr/>
      <dgm:t>
        <a:bodyPr/>
        <a:lstStyle/>
        <a:p>
          <a:endParaRPr lang="en-GB"/>
        </a:p>
      </dgm:t>
    </dgm:pt>
    <dgm:pt modelId="{DD3BB38D-D63D-400E-86FA-91982BE801A1}">
      <dgm:prSet phldr="0"/>
      <dgm:spPr/>
      <dgm:t>
        <a:bodyPr/>
        <a:lstStyle/>
        <a:p>
          <a:pPr algn="l">
            <a:lnSpc>
              <a:spcPct val="110000"/>
            </a:lnSpc>
          </a:pPr>
          <a:r>
            <a:rPr lang="en-GB" dirty="0">
              <a:latin typeface="Arial"/>
              <a:cs typeface="Arial"/>
            </a:rPr>
            <a:t>COPD = 5</a:t>
          </a:r>
        </a:p>
      </dgm:t>
    </dgm:pt>
    <dgm:pt modelId="{7135B2D0-DBB5-4300-B898-AC3248F0520D}" type="parTrans" cxnId="{6FCB9A2A-E87B-4486-8D26-EB0138D69138}">
      <dgm:prSet/>
      <dgm:spPr/>
      <dgm:t>
        <a:bodyPr/>
        <a:lstStyle/>
        <a:p>
          <a:endParaRPr lang="en-GB"/>
        </a:p>
      </dgm:t>
    </dgm:pt>
    <dgm:pt modelId="{BBD14799-8184-4DB2-8FAF-477930B6CDB7}" type="sibTrans" cxnId="{6FCB9A2A-E87B-4486-8D26-EB0138D69138}">
      <dgm:prSet/>
      <dgm:spPr/>
      <dgm:t>
        <a:bodyPr/>
        <a:lstStyle/>
        <a:p>
          <a:endParaRPr lang="en-GB"/>
        </a:p>
      </dgm:t>
    </dgm:pt>
    <dgm:pt modelId="{70DC7613-055A-4894-87FE-32B19FA407F9}">
      <dgm:prSet phldr="0"/>
      <dgm:spPr/>
      <dgm:t>
        <a:bodyPr/>
        <a:lstStyle/>
        <a:p>
          <a:pPr algn="l">
            <a:lnSpc>
              <a:spcPct val="110000"/>
            </a:lnSpc>
          </a:pPr>
          <a:r>
            <a:rPr lang="en-GB" dirty="0">
              <a:latin typeface="Arial"/>
              <a:cs typeface="Arial"/>
            </a:rPr>
            <a:t>MSK = 15</a:t>
          </a:r>
          <a:endParaRPr lang="en-US" dirty="0">
            <a:latin typeface="Arial"/>
            <a:cs typeface="Arial"/>
          </a:endParaRPr>
        </a:p>
      </dgm:t>
    </dgm:pt>
    <dgm:pt modelId="{39E2FFD1-7D3A-47E4-9B46-DC17156C8780}" type="parTrans" cxnId="{4D6831ED-E29E-43E6-8D32-3E6963A0B3A9}">
      <dgm:prSet/>
      <dgm:spPr/>
      <dgm:t>
        <a:bodyPr/>
        <a:lstStyle/>
        <a:p>
          <a:endParaRPr lang="en-GB"/>
        </a:p>
      </dgm:t>
    </dgm:pt>
    <dgm:pt modelId="{4499E4F0-E017-4825-A07B-717078421ED1}" type="sibTrans" cxnId="{4D6831ED-E29E-43E6-8D32-3E6963A0B3A9}">
      <dgm:prSet/>
      <dgm:spPr/>
      <dgm:t>
        <a:bodyPr/>
        <a:lstStyle/>
        <a:p>
          <a:endParaRPr lang="en-GB"/>
        </a:p>
      </dgm:t>
    </dgm:pt>
    <dgm:pt modelId="{7E278CE7-FB2F-4EA9-B36D-104381DD3E4E}">
      <dgm:prSet phldr="0"/>
      <dgm:spPr/>
      <dgm:t>
        <a:bodyPr/>
        <a:lstStyle/>
        <a:p>
          <a:pPr algn="l" rtl="0">
            <a:lnSpc>
              <a:spcPct val="110000"/>
            </a:lnSpc>
          </a:pPr>
          <a:r>
            <a:rPr lang="en-GB" dirty="0">
              <a:latin typeface="Arial"/>
              <a:cs typeface="Arial"/>
            </a:rPr>
            <a:t>Diabetes = 19</a:t>
          </a:r>
          <a:endParaRPr lang="en-US" dirty="0">
            <a:latin typeface="Arial"/>
            <a:cs typeface="Arial"/>
          </a:endParaRPr>
        </a:p>
      </dgm:t>
    </dgm:pt>
    <dgm:pt modelId="{616B6200-7C93-41FE-840A-502F1A1394BE}" type="parTrans" cxnId="{778D3F03-357F-4A95-AFF9-03A1D04E94B5}">
      <dgm:prSet/>
      <dgm:spPr/>
      <dgm:t>
        <a:bodyPr/>
        <a:lstStyle/>
        <a:p>
          <a:endParaRPr lang="en-GB"/>
        </a:p>
      </dgm:t>
    </dgm:pt>
    <dgm:pt modelId="{3783CCD4-E043-4703-98B2-38A618A423DB}" type="sibTrans" cxnId="{778D3F03-357F-4A95-AFF9-03A1D04E94B5}">
      <dgm:prSet/>
      <dgm:spPr/>
      <dgm:t>
        <a:bodyPr/>
        <a:lstStyle/>
        <a:p>
          <a:endParaRPr lang="en-GB"/>
        </a:p>
      </dgm:t>
    </dgm:pt>
    <dgm:pt modelId="{087C8215-32C5-48F6-BA7D-731FEC0F06EF}">
      <dgm:prSet phldr="0"/>
      <dgm:spPr/>
      <dgm:t>
        <a:bodyPr/>
        <a:lstStyle/>
        <a:p>
          <a:pPr algn="l" rtl="0">
            <a:lnSpc>
              <a:spcPct val="110000"/>
            </a:lnSpc>
          </a:pPr>
          <a:r>
            <a:rPr lang="en-GB" dirty="0">
              <a:latin typeface="Arial"/>
              <a:cs typeface="Arial"/>
            </a:rPr>
            <a:t>Scored for relevance</a:t>
          </a:r>
        </a:p>
      </dgm:t>
    </dgm:pt>
    <dgm:pt modelId="{54FE492F-DF0C-4420-9AE1-B3E57A372062}" type="parTrans" cxnId="{52D5AF10-753A-4A27-A557-1542C3C3FF12}">
      <dgm:prSet/>
      <dgm:spPr/>
      <dgm:t>
        <a:bodyPr/>
        <a:lstStyle/>
        <a:p>
          <a:endParaRPr lang="en-GB"/>
        </a:p>
      </dgm:t>
    </dgm:pt>
    <dgm:pt modelId="{8612A7CA-7656-46A3-93A2-9D3FA1820AFA}" type="sibTrans" cxnId="{52D5AF10-753A-4A27-A557-1542C3C3FF12}">
      <dgm:prSet/>
      <dgm:spPr/>
      <dgm:t>
        <a:bodyPr/>
        <a:lstStyle/>
        <a:p>
          <a:endParaRPr lang="en-GB"/>
        </a:p>
      </dgm:t>
    </dgm:pt>
    <dgm:pt modelId="{3B984CC8-873E-4B2F-A90C-280B18311950}">
      <dgm:prSet phldr="0"/>
      <dgm:spPr/>
      <dgm:t>
        <a:bodyPr/>
        <a:lstStyle/>
        <a:p>
          <a:pPr algn="l" rtl="0">
            <a:lnSpc>
              <a:spcPct val="110000"/>
            </a:lnSpc>
          </a:pPr>
          <a:r>
            <a:rPr lang="en-GB" dirty="0">
              <a:latin typeface="Arial"/>
              <a:cs typeface="Arial"/>
            </a:rPr>
            <a:t>Excel algorithm to identify relevant keywords within abstract</a:t>
          </a:r>
        </a:p>
      </dgm:t>
    </dgm:pt>
    <dgm:pt modelId="{23608193-CE64-4B60-B7E2-906C941AA3BF}" type="parTrans" cxnId="{B21EFD60-111E-4355-B453-151BD047FAD3}">
      <dgm:prSet/>
      <dgm:spPr/>
      <dgm:t>
        <a:bodyPr/>
        <a:lstStyle/>
        <a:p>
          <a:endParaRPr lang="en-GB"/>
        </a:p>
      </dgm:t>
    </dgm:pt>
    <dgm:pt modelId="{F6432EE3-DB83-466B-89E4-087F224D71D6}" type="sibTrans" cxnId="{B21EFD60-111E-4355-B453-151BD047FAD3}">
      <dgm:prSet/>
      <dgm:spPr/>
      <dgm:t>
        <a:bodyPr/>
        <a:lstStyle/>
        <a:p>
          <a:endParaRPr lang="en-GB"/>
        </a:p>
      </dgm:t>
    </dgm:pt>
    <dgm:pt modelId="{C899766E-A88A-4170-9805-643E1144CC94}">
      <dgm:prSet phldr="0"/>
      <dgm:spPr/>
      <dgm:t>
        <a:bodyPr/>
        <a:lstStyle/>
        <a:p>
          <a:pPr algn="l" rtl="0">
            <a:lnSpc>
              <a:spcPct val="110000"/>
            </a:lnSpc>
          </a:pPr>
          <a:r>
            <a:rPr lang="en-GB">
              <a:latin typeface="Arial"/>
              <a:cs typeface="Arial"/>
            </a:rPr>
            <a:t>Papers </a:t>
          </a:r>
          <a:r>
            <a:rPr lang="en-GB" dirty="0">
              <a:latin typeface="Arial"/>
              <a:cs typeface="Arial"/>
            </a:rPr>
            <a:t>left:</a:t>
          </a:r>
        </a:p>
      </dgm:t>
    </dgm:pt>
    <dgm:pt modelId="{4C014416-A1F9-48F5-9656-397FF3394862}" type="parTrans" cxnId="{33D19795-7E4D-4818-867A-18C79D1D1198}">
      <dgm:prSet/>
      <dgm:spPr/>
      <dgm:t>
        <a:bodyPr/>
        <a:lstStyle/>
        <a:p>
          <a:endParaRPr lang="en-GB"/>
        </a:p>
      </dgm:t>
    </dgm:pt>
    <dgm:pt modelId="{9DF60187-4221-45ED-AF0A-ADF0CEFBE4BD}" type="sibTrans" cxnId="{33D19795-7E4D-4818-867A-18C79D1D1198}">
      <dgm:prSet/>
      <dgm:spPr/>
      <dgm:t>
        <a:bodyPr/>
        <a:lstStyle/>
        <a:p>
          <a:endParaRPr lang="en-GB"/>
        </a:p>
      </dgm:t>
    </dgm:pt>
    <dgm:pt modelId="{913F26A0-7410-4D4D-87D8-620F66F45C01}">
      <dgm:prSet phldr="0"/>
      <dgm:spPr/>
      <dgm:t>
        <a:bodyPr/>
        <a:lstStyle/>
        <a:p>
          <a:pPr algn="l" rtl="0">
            <a:lnSpc>
              <a:spcPct val="110000"/>
            </a:lnSpc>
          </a:pPr>
          <a:r>
            <a:rPr lang="en-GB" dirty="0">
              <a:latin typeface="Arial"/>
              <a:cs typeface="Arial"/>
            </a:rPr>
            <a:t>Abstracts scanned for relevance</a:t>
          </a:r>
        </a:p>
      </dgm:t>
    </dgm:pt>
    <dgm:pt modelId="{6A1D3815-293B-482B-AE89-FE0134A508CF}" type="parTrans" cxnId="{9DC9C242-6F39-40C2-AB95-C7DFD1DA2CB1}">
      <dgm:prSet/>
      <dgm:spPr/>
      <dgm:t>
        <a:bodyPr/>
        <a:lstStyle/>
        <a:p>
          <a:endParaRPr lang="en-GB"/>
        </a:p>
      </dgm:t>
    </dgm:pt>
    <dgm:pt modelId="{1FA73F00-8329-43C3-A99B-911A3A28321F}" type="sibTrans" cxnId="{9DC9C242-6F39-40C2-AB95-C7DFD1DA2CB1}">
      <dgm:prSet/>
      <dgm:spPr/>
      <dgm:t>
        <a:bodyPr/>
        <a:lstStyle/>
        <a:p>
          <a:endParaRPr lang="en-GB"/>
        </a:p>
      </dgm:t>
    </dgm:pt>
    <dgm:pt modelId="{F916F836-5F23-4C8A-BEC2-EF37D5E80742}" type="pres">
      <dgm:prSet presAssocID="{73F4A388-409E-4FD8-9FC4-9C181259D058}" presName="diagram" presStyleCnt="0">
        <dgm:presLayoutVars>
          <dgm:dir/>
          <dgm:resizeHandles val="exact"/>
        </dgm:presLayoutVars>
      </dgm:prSet>
      <dgm:spPr/>
    </dgm:pt>
    <dgm:pt modelId="{C4FECB58-C0EA-4B78-A491-9A7A5F95F1B7}" type="pres">
      <dgm:prSet presAssocID="{77AC0035-1254-4AA1-952B-2293F9741349}" presName="node" presStyleLbl="node1" presStyleIdx="0" presStyleCnt="4">
        <dgm:presLayoutVars>
          <dgm:bulletEnabled val="1"/>
        </dgm:presLayoutVars>
      </dgm:prSet>
      <dgm:spPr/>
    </dgm:pt>
    <dgm:pt modelId="{D0264DE5-C75E-410E-93A4-0F41DA898605}" type="pres">
      <dgm:prSet presAssocID="{7AA30759-0832-45FD-8C95-6A86CE4C31E3}" presName="sibTrans" presStyleCnt="0"/>
      <dgm:spPr/>
    </dgm:pt>
    <dgm:pt modelId="{7079CB69-7101-47EC-8CF3-8FD234DE83B0}" type="pres">
      <dgm:prSet presAssocID="{514AB6C5-EE02-4ACA-B3D0-CA2E74188652}" presName="node" presStyleLbl="node1" presStyleIdx="1" presStyleCnt="4">
        <dgm:presLayoutVars>
          <dgm:bulletEnabled val="1"/>
        </dgm:presLayoutVars>
      </dgm:prSet>
      <dgm:spPr/>
    </dgm:pt>
    <dgm:pt modelId="{B867802B-C1E1-4383-9BC8-71960A213202}" type="pres">
      <dgm:prSet presAssocID="{2CE480DD-BCE0-4449-9AF2-47DC702688B9}" presName="sibTrans" presStyleCnt="0"/>
      <dgm:spPr/>
    </dgm:pt>
    <dgm:pt modelId="{82A20443-8B9F-4189-923A-1D161ACB0C83}" type="pres">
      <dgm:prSet presAssocID="{451360DA-C1AE-4B72-856D-86BA3478C2E9}" presName="node" presStyleLbl="node1" presStyleIdx="2" presStyleCnt="4">
        <dgm:presLayoutVars>
          <dgm:bulletEnabled val="1"/>
        </dgm:presLayoutVars>
      </dgm:prSet>
      <dgm:spPr/>
    </dgm:pt>
    <dgm:pt modelId="{6FF23097-6DB4-4D69-B08F-48824FFC041D}" type="pres">
      <dgm:prSet presAssocID="{B616BB9C-51FB-4CD6-9EDA-AD20B9DCA1C2}" presName="sibTrans" presStyleCnt="0"/>
      <dgm:spPr/>
    </dgm:pt>
    <dgm:pt modelId="{92C6E05B-3B5F-4EF0-90F3-B60BB1B9BE85}" type="pres">
      <dgm:prSet presAssocID="{966624DF-DB18-43F1-B7BF-367F9CDE49F8}" presName="node" presStyleLbl="node1" presStyleIdx="3" presStyleCnt="4">
        <dgm:presLayoutVars>
          <dgm:bulletEnabled val="1"/>
        </dgm:presLayoutVars>
      </dgm:prSet>
      <dgm:spPr/>
    </dgm:pt>
  </dgm:ptLst>
  <dgm:cxnLst>
    <dgm:cxn modelId="{778D3F03-357F-4A95-AFF9-03A1D04E94B5}" srcId="{966624DF-DB18-43F1-B7BF-367F9CDE49F8}" destId="{7E278CE7-FB2F-4EA9-B36D-104381DD3E4E}" srcOrd="2" destOrd="0" parTransId="{616B6200-7C93-41FE-840A-502F1A1394BE}" sibTransId="{3783CCD4-E043-4703-98B2-38A618A423DB}"/>
    <dgm:cxn modelId="{E70CA204-D1C2-4B44-9545-279FFFB8E477}" srcId="{451360DA-C1AE-4B72-856D-86BA3478C2E9}" destId="{868AC6FC-5964-4D29-91B0-C539740C2C75}" srcOrd="1" destOrd="0" parTransId="{625D7E77-8A57-42BE-8235-560387E79732}" sibTransId="{4D31D028-7C20-45A8-AD3E-F19C308D8730}"/>
    <dgm:cxn modelId="{70BF3A0A-59B1-4205-8216-281E5F22073F}" type="presOf" srcId="{795CCA90-8A04-48C7-BA0B-DF6A0A15233E}" destId="{C4FECB58-C0EA-4B78-A491-9A7A5F95F1B7}" srcOrd="0" destOrd="1" presId="urn:microsoft.com/office/officeart/2005/8/layout/default"/>
    <dgm:cxn modelId="{52D5AF10-753A-4A27-A557-1542C3C3FF12}" srcId="{514AB6C5-EE02-4ACA-B3D0-CA2E74188652}" destId="{087C8215-32C5-48F6-BA7D-731FEC0F06EF}" srcOrd="0" destOrd="0" parTransId="{54FE492F-DF0C-4420-9AE1-B3E57A372062}" sibTransId="{8612A7CA-7656-46A3-93A2-9D3FA1820AFA}"/>
    <dgm:cxn modelId="{88ACD316-2913-400B-A710-5CAA1CEF4A83}" type="presOf" srcId="{EB1A928B-2123-4F18-B902-BA36F24FAB03}" destId="{C4FECB58-C0EA-4B78-A491-9A7A5F95F1B7}" srcOrd="0" destOrd="2" presId="urn:microsoft.com/office/officeart/2005/8/layout/default"/>
    <dgm:cxn modelId="{076C3A20-E340-4448-A60C-12D945B62322}" type="presOf" srcId="{70DC7613-055A-4894-87FE-32B19FA407F9}" destId="{92C6E05B-3B5F-4EF0-90F3-B60BB1B9BE85}" srcOrd="0" destOrd="4" presId="urn:microsoft.com/office/officeart/2005/8/layout/default"/>
    <dgm:cxn modelId="{8D6C4221-F483-4602-8BEE-8D64D77B42DC}" type="presOf" srcId="{C7AE52C2-4F40-406B-939C-F4B9A4B9FAC7}" destId="{7079CB69-7101-47EC-8CF3-8FD234DE83B0}" srcOrd="0" destOrd="2" presId="urn:microsoft.com/office/officeart/2005/8/layout/default"/>
    <dgm:cxn modelId="{EC5C8D21-B12A-4C1C-8001-ED7C7237E1AC}" type="presOf" srcId="{C8BBC7E1-747A-45B3-B4C4-F1AB21E690C2}" destId="{82A20443-8B9F-4189-923A-1D161ACB0C83}" srcOrd="0" destOrd="5" presId="urn:microsoft.com/office/officeart/2005/8/layout/default"/>
    <dgm:cxn modelId="{34D40322-E896-4093-A2AE-92F75D6CFBA1}" srcId="{C7AE52C2-4F40-406B-939C-F4B9A4B9FAC7}" destId="{81B245F7-160E-4ECB-BC36-480FBCEA44F0}" srcOrd="2" destOrd="0" parTransId="{F9E044D8-4194-43D0-B599-DF74F78A6D42}" sibTransId="{EB61C32C-6B83-495A-A469-CD01E9AF9C3B}"/>
    <dgm:cxn modelId="{A3992624-2F5F-4F0C-907C-47667FA7B6E2}" type="presOf" srcId="{087C8215-32C5-48F6-BA7D-731FEC0F06EF}" destId="{7079CB69-7101-47EC-8CF3-8FD234DE83B0}" srcOrd="0" destOrd="1" presId="urn:microsoft.com/office/officeart/2005/8/layout/default"/>
    <dgm:cxn modelId="{E54D9929-946C-42FC-B78C-CB3D54D58E04}" type="presOf" srcId="{77AC0035-1254-4AA1-952B-2293F9741349}" destId="{C4FECB58-C0EA-4B78-A491-9A7A5F95F1B7}" srcOrd="0" destOrd="0" presId="urn:microsoft.com/office/officeart/2005/8/layout/default"/>
    <dgm:cxn modelId="{6FCB9A2A-E87B-4486-8D26-EB0138D69138}" srcId="{966624DF-DB18-43F1-B7BF-367F9CDE49F8}" destId="{DD3BB38D-D63D-400E-86FA-91982BE801A1}" srcOrd="4" destOrd="0" parTransId="{7135B2D0-DBB5-4300-B898-AC3248F0520D}" sibTransId="{BBD14799-8184-4DB2-8FAF-477930B6CDB7}"/>
    <dgm:cxn modelId="{5778FB2E-6F79-437C-95FD-B1BC94B1BBED}" type="presOf" srcId="{DD3BB38D-D63D-400E-86FA-91982BE801A1}" destId="{92C6E05B-3B5F-4EF0-90F3-B60BB1B9BE85}" srcOrd="0" destOrd="5" presId="urn:microsoft.com/office/officeart/2005/8/layout/default"/>
    <dgm:cxn modelId="{E6CDB43E-5019-4D46-8510-D3C29D964656}" type="presOf" srcId="{868AC6FC-5964-4D29-91B0-C539740C2C75}" destId="{82A20443-8B9F-4189-923A-1D161ACB0C83}" srcOrd="0" destOrd="2" presId="urn:microsoft.com/office/officeart/2005/8/layout/default"/>
    <dgm:cxn modelId="{AD17743F-D356-4AEC-9035-1D568C6CCC4D}" srcId="{795CCA90-8A04-48C7-BA0B-DF6A0A15233E}" destId="{C87460E6-5991-4F26-AEE9-20CB4DF056FB}" srcOrd="2" destOrd="0" parTransId="{223BC588-BCBD-4CF9-AB9B-04BE17141947}" sibTransId="{A99F30A1-B6EF-4CA7-AEBC-D8528811F60B}"/>
    <dgm:cxn modelId="{9DC9C242-6F39-40C2-AB95-C7DFD1DA2CB1}" srcId="{966624DF-DB18-43F1-B7BF-367F9CDE49F8}" destId="{913F26A0-7410-4D4D-87D8-620F66F45C01}" srcOrd="0" destOrd="0" parTransId="{6A1D3815-293B-482B-AE89-FE0134A508CF}" sibTransId="{1FA73F00-8329-43C3-A99B-911A3A28321F}"/>
    <dgm:cxn modelId="{33D22443-39C3-41CF-80D9-F5164B507EB3}" srcId="{73F4A388-409E-4FD8-9FC4-9C181259D058}" destId="{451360DA-C1AE-4B72-856D-86BA3478C2E9}" srcOrd="2" destOrd="0" parTransId="{10AFFCCF-03DF-4A7F-90F7-D69861D3BE49}" sibTransId="{B616BB9C-51FB-4CD6-9EDA-AD20B9DCA1C2}"/>
    <dgm:cxn modelId="{BED0674F-7030-45A8-A699-26409562EFD3}" type="presOf" srcId="{3B984CC8-873E-4B2F-A90C-280B18311950}" destId="{82A20443-8B9F-4189-923A-1D161ACB0C83}" srcOrd="0" destOrd="1" presId="urn:microsoft.com/office/officeart/2005/8/layout/default"/>
    <dgm:cxn modelId="{C3B9CC51-C86A-4F56-8F52-40C916A5ED03}" srcId="{73F4A388-409E-4FD8-9FC4-9C181259D058}" destId="{77AC0035-1254-4AA1-952B-2293F9741349}" srcOrd="0" destOrd="0" parTransId="{791D449D-9428-49BB-A8E9-E024E2DF857A}" sibTransId="{7AA30759-0832-45FD-8C95-6A86CE4C31E3}"/>
    <dgm:cxn modelId="{52ACDF51-BCB4-477F-B7B3-C4F30DA74023}" type="presOf" srcId="{966624DF-DB18-43F1-B7BF-367F9CDE49F8}" destId="{92C6E05B-3B5F-4EF0-90F3-B60BB1B9BE85}" srcOrd="0" destOrd="0" presId="urn:microsoft.com/office/officeart/2005/8/layout/default"/>
    <dgm:cxn modelId="{2DA66E52-471A-4372-AF4F-3D740C08301C}" srcId="{795CCA90-8A04-48C7-BA0B-DF6A0A15233E}" destId="{EB1A928B-2123-4F18-B902-BA36F24FAB03}" srcOrd="0" destOrd="0" parTransId="{F545B5DF-33AB-4441-B9B7-4E2AF1E4CD9C}" sibTransId="{535B90AF-4E53-484B-B8DA-978818ECBCC6}"/>
    <dgm:cxn modelId="{8434D752-884F-4B09-AD99-2794B22AD67D}" srcId="{C7AE52C2-4F40-406B-939C-F4B9A4B9FAC7}" destId="{59E4EB0E-5B97-42F7-B005-1DC4B96E5841}" srcOrd="1" destOrd="0" parTransId="{B518DBE1-E2AE-42DF-AC6C-4ECA760B1C5B}" sibTransId="{08CB999D-84A5-485D-9A83-01F3F84709EE}"/>
    <dgm:cxn modelId="{B21EFD60-111E-4355-B453-151BD047FAD3}" srcId="{451360DA-C1AE-4B72-856D-86BA3478C2E9}" destId="{3B984CC8-873E-4B2F-A90C-280B18311950}" srcOrd="0" destOrd="0" parTransId="{23608193-CE64-4B60-B7E2-906C941AA3BF}" sibTransId="{F6432EE3-DB83-466B-89E4-087F224D71D6}"/>
    <dgm:cxn modelId="{C0695864-F1DC-486E-89E4-5A47D4345D4A}" srcId="{795CCA90-8A04-48C7-BA0B-DF6A0A15233E}" destId="{E8EC8C3C-4AF6-4DF2-9D9D-B7AA235D3A84}" srcOrd="1" destOrd="0" parTransId="{D3A417CC-3608-4A8D-9F13-69C64D5D266C}" sibTransId="{F0C58B6A-01A4-45BD-9F2B-F037462EE53A}"/>
    <dgm:cxn modelId="{0928FF68-6462-4104-904E-CD069AAED9CE}" type="presOf" srcId="{FD2AB5C1-6061-4CEF-8CFF-DE4F1DF7C2C8}" destId="{82A20443-8B9F-4189-923A-1D161ACB0C83}" srcOrd="0" destOrd="3" presId="urn:microsoft.com/office/officeart/2005/8/layout/default"/>
    <dgm:cxn modelId="{90F20969-03F6-405F-85B5-E953BF1D82D7}" type="presOf" srcId="{C87460E6-5991-4F26-AEE9-20CB4DF056FB}" destId="{C4FECB58-C0EA-4B78-A491-9A7A5F95F1B7}" srcOrd="0" destOrd="4" presId="urn:microsoft.com/office/officeart/2005/8/layout/default"/>
    <dgm:cxn modelId="{B75C806C-2062-47C0-95CF-9CCA59B74B7F}" srcId="{77AC0035-1254-4AA1-952B-2293F9741349}" destId="{795CCA90-8A04-48C7-BA0B-DF6A0A15233E}" srcOrd="0" destOrd="0" parTransId="{36DD4E72-58ED-4A0B-BBFE-A7C83B82B1DE}" sibTransId="{E24E3A10-3735-4EC8-AF62-B05F1379517B}"/>
    <dgm:cxn modelId="{49C5A781-3E53-4FB5-9C60-C4251BE8FD0C}" type="presOf" srcId="{913F26A0-7410-4D4D-87D8-620F66F45C01}" destId="{92C6E05B-3B5F-4EF0-90F3-B60BB1B9BE85}" srcOrd="0" destOrd="1" presId="urn:microsoft.com/office/officeart/2005/8/layout/default"/>
    <dgm:cxn modelId="{76D21682-685D-48B8-B8B7-8161A69186BC}" type="presOf" srcId="{59E4EB0E-5B97-42F7-B005-1DC4B96E5841}" destId="{7079CB69-7101-47EC-8CF3-8FD234DE83B0}" srcOrd="0" destOrd="4" presId="urn:microsoft.com/office/officeart/2005/8/layout/default"/>
    <dgm:cxn modelId="{92D5D694-8269-4B03-B24F-E6DB88A0718B}" srcId="{868AC6FC-5964-4D29-91B0-C539740C2C75}" destId="{CDE559BC-74F5-4597-B3BC-0FED28C3B2CE}" srcOrd="1" destOrd="0" parTransId="{8C7EA9A9-D8D3-43D1-9090-0943A4E9ACEC}" sibTransId="{D9A153DC-6ADF-4BA1-A07B-3D7F437EBB24}"/>
    <dgm:cxn modelId="{33D19795-7E4D-4818-867A-18C79D1D1198}" srcId="{966624DF-DB18-43F1-B7BF-367F9CDE49F8}" destId="{C899766E-A88A-4170-9805-643E1144CC94}" srcOrd="1" destOrd="0" parTransId="{4C014416-A1F9-48F5-9656-397FF3394862}" sibTransId="{9DF60187-4221-45ED-AF0A-ADF0CEFBE4BD}"/>
    <dgm:cxn modelId="{B7F10097-85DF-448F-8FE4-F4496C8DEB28}" type="presOf" srcId="{E8EC8C3C-4AF6-4DF2-9D9D-B7AA235D3A84}" destId="{C4FECB58-C0EA-4B78-A491-9A7A5F95F1B7}" srcOrd="0" destOrd="3" presId="urn:microsoft.com/office/officeart/2005/8/layout/default"/>
    <dgm:cxn modelId="{DD09D1A1-93DB-4AE7-B673-16EFD8E0FCD4}" type="presOf" srcId="{81B245F7-160E-4ECB-BC36-480FBCEA44F0}" destId="{7079CB69-7101-47EC-8CF3-8FD234DE83B0}" srcOrd="0" destOrd="5" presId="urn:microsoft.com/office/officeart/2005/8/layout/default"/>
    <dgm:cxn modelId="{3F0286AD-3478-487B-89FD-B081FDC0B90D}" type="presOf" srcId="{451360DA-C1AE-4B72-856D-86BA3478C2E9}" destId="{82A20443-8B9F-4189-923A-1D161ACB0C83}" srcOrd="0" destOrd="0" presId="urn:microsoft.com/office/officeart/2005/8/layout/default"/>
    <dgm:cxn modelId="{CA2F4DB2-99B7-419C-B24C-BCD139C43087}" srcId="{514AB6C5-EE02-4ACA-B3D0-CA2E74188652}" destId="{C7AE52C2-4F40-406B-939C-F4B9A4B9FAC7}" srcOrd="1" destOrd="0" parTransId="{413AB157-707B-4B0D-8FE5-1BB28738F651}" sibTransId="{57F3C98A-2F72-4C5B-84E2-70D3D3E569A0}"/>
    <dgm:cxn modelId="{4CC11EC0-7963-49AC-AB03-0383A59C580D}" srcId="{73F4A388-409E-4FD8-9FC4-9C181259D058}" destId="{514AB6C5-EE02-4ACA-B3D0-CA2E74188652}" srcOrd="1" destOrd="0" parTransId="{9CCA9FD2-6A61-4D2E-AA5A-0C9BDB9AC2CA}" sibTransId="{2CE480DD-BCE0-4449-9AF2-47DC702688B9}"/>
    <dgm:cxn modelId="{9EFFB3C7-F15E-46C0-AE91-B2F9DF8ED407}" type="presOf" srcId="{CDE559BC-74F5-4597-B3BC-0FED28C3B2CE}" destId="{82A20443-8B9F-4189-923A-1D161ACB0C83}" srcOrd="0" destOrd="4" presId="urn:microsoft.com/office/officeart/2005/8/layout/default"/>
    <dgm:cxn modelId="{F0631EC8-7F74-4A3F-AAEC-37EB821AC7E8}" srcId="{C7AE52C2-4F40-406B-939C-F4B9A4B9FAC7}" destId="{0FB35256-92B0-448A-8E4D-75EC84B1F43D}" srcOrd="0" destOrd="0" parTransId="{70041FCC-C0A9-46B2-A048-97F7486F8F12}" sibTransId="{E6FB649E-05B0-4A4F-BF37-2EDD5BCB7B4D}"/>
    <dgm:cxn modelId="{BAA403CD-64D4-4BA6-8C5C-17654C54731E}" type="presOf" srcId="{7E278CE7-FB2F-4EA9-B36D-104381DD3E4E}" destId="{92C6E05B-3B5F-4EF0-90F3-B60BB1B9BE85}" srcOrd="0" destOrd="3" presId="urn:microsoft.com/office/officeart/2005/8/layout/default"/>
    <dgm:cxn modelId="{01D8FCCE-4833-4F24-B34B-604A7D2E53F3}" type="presOf" srcId="{73F4A388-409E-4FD8-9FC4-9C181259D058}" destId="{F916F836-5F23-4C8A-BEC2-EF37D5E80742}" srcOrd="0" destOrd="0" presId="urn:microsoft.com/office/officeart/2005/8/layout/default"/>
    <dgm:cxn modelId="{CF685FDD-A7AD-48C4-8A9C-DC9CBBF6DB02}" srcId="{73F4A388-409E-4FD8-9FC4-9C181259D058}" destId="{966624DF-DB18-43F1-B7BF-367F9CDE49F8}" srcOrd="3" destOrd="0" parTransId="{C96FE529-09B7-470D-939C-3ABB5B29EE3A}" sibTransId="{D4CAD532-C00C-439C-8444-C9721D33CF34}"/>
    <dgm:cxn modelId="{FD953DE4-EB95-4B07-83F1-F41C74F3B308}" type="presOf" srcId="{514AB6C5-EE02-4ACA-B3D0-CA2E74188652}" destId="{7079CB69-7101-47EC-8CF3-8FD234DE83B0}" srcOrd="0" destOrd="0" presId="urn:microsoft.com/office/officeart/2005/8/layout/default"/>
    <dgm:cxn modelId="{133EE2E7-5354-4B3C-AB68-32784360B877}" type="presOf" srcId="{0FB35256-92B0-448A-8E4D-75EC84B1F43D}" destId="{7079CB69-7101-47EC-8CF3-8FD234DE83B0}" srcOrd="0" destOrd="3" presId="urn:microsoft.com/office/officeart/2005/8/layout/default"/>
    <dgm:cxn modelId="{F73FA6E8-68D8-498E-85A1-B6D023B9D698}" type="presOf" srcId="{C899766E-A88A-4170-9805-643E1144CC94}" destId="{92C6E05B-3B5F-4EF0-90F3-B60BB1B9BE85}" srcOrd="0" destOrd="2" presId="urn:microsoft.com/office/officeart/2005/8/layout/default"/>
    <dgm:cxn modelId="{644642E9-781D-4777-89AA-3311E697778A}" srcId="{868AC6FC-5964-4D29-91B0-C539740C2C75}" destId="{FD2AB5C1-6061-4CEF-8CFF-DE4F1DF7C2C8}" srcOrd="0" destOrd="0" parTransId="{9ED11CCB-6C5E-43C8-8A73-E81241A3B796}" sibTransId="{53A7F60C-D0CB-44CF-82E6-D4D292053CA9}"/>
    <dgm:cxn modelId="{4D6831ED-E29E-43E6-8D32-3E6963A0B3A9}" srcId="{966624DF-DB18-43F1-B7BF-367F9CDE49F8}" destId="{70DC7613-055A-4894-87FE-32B19FA407F9}" srcOrd="3" destOrd="0" parTransId="{39E2FFD1-7D3A-47E4-9B46-DC17156C8780}" sibTransId="{4499E4F0-E017-4825-A07B-717078421ED1}"/>
    <dgm:cxn modelId="{0C8B9BFA-A60F-472F-9682-1C729AC75AF6}" srcId="{868AC6FC-5964-4D29-91B0-C539740C2C75}" destId="{C8BBC7E1-747A-45B3-B4C4-F1AB21E690C2}" srcOrd="2" destOrd="0" parTransId="{CC96607C-5B02-43EE-95DF-4CAAA01F03A4}" sibTransId="{31A1DC73-7FF4-41CE-8CCE-74BFD88F11E3}"/>
    <dgm:cxn modelId="{C4AA9534-AC67-4610-AE32-3F3E1A4990FC}" type="presParOf" srcId="{F916F836-5F23-4C8A-BEC2-EF37D5E80742}" destId="{C4FECB58-C0EA-4B78-A491-9A7A5F95F1B7}" srcOrd="0" destOrd="0" presId="urn:microsoft.com/office/officeart/2005/8/layout/default"/>
    <dgm:cxn modelId="{D97B0092-FB85-4F12-88D7-CBBA31CF989F}" type="presParOf" srcId="{F916F836-5F23-4C8A-BEC2-EF37D5E80742}" destId="{D0264DE5-C75E-410E-93A4-0F41DA898605}" srcOrd="1" destOrd="0" presId="urn:microsoft.com/office/officeart/2005/8/layout/default"/>
    <dgm:cxn modelId="{DDD15504-6DF0-47D9-A930-0E5D8AC96D68}" type="presParOf" srcId="{F916F836-5F23-4C8A-BEC2-EF37D5E80742}" destId="{7079CB69-7101-47EC-8CF3-8FD234DE83B0}" srcOrd="2" destOrd="0" presId="urn:microsoft.com/office/officeart/2005/8/layout/default"/>
    <dgm:cxn modelId="{05957248-DE58-4361-A307-4CFBCBD3CCC3}" type="presParOf" srcId="{F916F836-5F23-4C8A-BEC2-EF37D5E80742}" destId="{B867802B-C1E1-4383-9BC8-71960A213202}" srcOrd="3" destOrd="0" presId="urn:microsoft.com/office/officeart/2005/8/layout/default"/>
    <dgm:cxn modelId="{02FB77A2-2C68-434B-B737-97A75544189F}" type="presParOf" srcId="{F916F836-5F23-4C8A-BEC2-EF37D5E80742}" destId="{82A20443-8B9F-4189-923A-1D161ACB0C83}" srcOrd="4" destOrd="0" presId="urn:microsoft.com/office/officeart/2005/8/layout/default"/>
    <dgm:cxn modelId="{8AD95A3B-9B61-4856-832D-17C4D5540EEF}" type="presParOf" srcId="{F916F836-5F23-4C8A-BEC2-EF37D5E80742}" destId="{6FF23097-6DB4-4D69-B08F-48824FFC041D}" srcOrd="5" destOrd="0" presId="urn:microsoft.com/office/officeart/2005/8/layout/default"/>
    <dgm:cxn modelId="{04EF8364-F0C8-48CF-B3E6-505C2B443BFB}" type="presParOf" srcId="{F916F836-5F23-4C8A-BEC2-EF37D5E80742}" destId="{92C6E05B-3B5F-4EF0-90F3-B60BB1B9BE85}" srcOrd="6"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EE6BE76-A4FC-417C-8CF7-BBB6D685B26B}"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GB"/>
        </a:p>
      </dgm:t>
    </dgm:pt>
    <dgm:pt modelId="{DF0536FC-827D-4DCA-A5BE-9CFE95828B83}">
      <dgm:prSet/>
      <dgm:spPr/>
      <dgm:t>
        <a:bodyPr/>
        <a:lstStyle/>
        <a:p>
          <a:r>
            <a:rPr lang="en-GB" dirty="0"/>
            <a:t>AMSTAR2 (A Measurement Tool to Assess Systematic Reviews) was deployed to assess the quality of the reviews shortlisted</a:t>
          </a:r>
        </a:p>
      </dgm:t>
    </dgm:pt>
    <dgm:pt modelId="{C12E54E7-718A-42A6-B71C-4E4413E7F5A8}" type="parTrans" cxnId="{B74BED13-207D-4F33-A998-BEC628BDC9BD}">
      <dgm:prSet/>
      <dgm:spPr/>
      <dgm:t>
        <a:bodyPr/>
        <a:lstStyle/>
        <a:p>
          <a:endParaRPr lang="en-GB"/>
        </a:p>
      </dgm:t>
    </dgm:pt>
    <dgm:pt modelId="{8289270F-49CB-4B55-BAB2-08CA143B50A8}" type="sibTrans" cxnId="{B74BED13-207D-4F33-A998-BEC628BDC9BD}">
      <dgm:prSet/>
      <dgm:spPr/>
      <dgm:t>
        <a:bodyPr/>
        <a:lstStyle/>
        <a:p>
          <a:endParaRPr lang="en-GB"/>
        </a:p>
      </dgm:t>
    </dgm:pt>
    <dgm:pt modelId="{68ACF76D-271A-41E1-B7AB-9D9FBA944345}">
      <dgm:prSet/>
      <dgm:spPr/>
      <dgm:t>
        <a:bodyPr/>
        <a:lstStyle/>
        <a:p>
          <a:r>
            <a:rPr lang="en-GB" dirty="0"/>
            <a:t>Among other factors, it assesses</a:t>
          </a:r>
        </a:p>
      </dgm:t>
    </dgm:pt>
    <dgm:pt modelId="{6962E530-43F8-48B0-A67F-26F99F1015C6}" type="parTrans" cxnId="{B1D660F0-A4D0-401C-BA4D-8A913F97C1C9}">
      <dgm:prSet/>
      <dgm:spPr/>
      <dgm:t>
        <a:bodyPr/>
        <a:lstStyle/>
        <a:p>
          <a:endParaRPr lang="en-GB"/>
        </a:p>
      </dgm:t>
    </dgm:pt>
    <dgm:pt modelId="{401EDA1F-3DF9-46E0-948B-0DBFFE7E0F3A}" type="sibTrans" cxnId="{B1D660F0-A4D0-401C-BA4D-8A913F97C1C9}">
      <dgm:prSet/>
      <dgm:spPr/>
      <dgm:t>
        <a:bodyPr/>
        <a:lstStyle/>
        <a:p>
          <a:endParaRPr lang="en-GB"/>
        </a:p>
      </dgm:t>
    </dgm:pt>
    <dgm:pt modelId="{27815442-930E-4F33-A9E3-9E347A6B5C3D}">
      <dgm:prSet/>
      <dgm:spPr/>
      <dgm:t>
        <a:bodyPr/>
        <a:lstStyle/>
        <a:p>
          <a:r>
            <a:rPr lang="en-GB" dirty="0"/>
            <a:t>research questions and inclusion criteria</a:t>
          </a:r>
        </a:p>
      </dgm:t>
    </dgm:pt>
    <dgm:pt modelId="{67F41CF1-1643-4CB6-B659-4833EE5E4577}" type="parTrans" cxnId="{A88E22B4-4C19-4DF1-9D76-303B936E451C}">
      <dgm:prSet/>
      <dgm:spPr/>
      <dgm:t>
        <a:bodyPr/>
        <a:lstStyle/>
        <a:p>
          <a:endParaRPr lang="en-GB"/>
        </a:p>
      </dgm:t>
    </dgm:pt>
    <dgm:pt modelId="{10C64411-1C49-431B-A41D-0C47FE805DF1}" type="sibTrans" cxnId="{A88E22B4-4C19-4DF1-9D76-303B936E451C}">
      <dgm:prSet/>
      <dgm:spPr/>
      <dgm:t>
        <a:bodyPr/>
        <a:lstStyle/>
        <a:p>
          <a:endParaRPr lang="en-GB"/>
        </a:p>
      </dgm:t>
    </dgm:pt>
    <dgm:pt modelId="{34C812BD-C67D-4872-B9FC-804BFBDA1419}">
      <dgm:prSet/>
      <dgm:spPr/>
      <dgm:t>
        <a:bodyPr/>
        <a:lstStyle/>
        <a:p>
          <a:r>
            <a:rPr lang="en-GB" dirty="0"/>
            <a:t>establishment of review methods</a:t>
          </a:r>
        </a:p>
      </dgm:t>
    </dgm:pt>
    <dgm:pt modelId="{745FB091-CE1B-4038-A84C-3EA300591EB3}" type="parTrans" cxnId="{E7273433-0CCC-4A9B-9909-F058ED803836}">
      <dgm:prSet/>
      <dgm:spPr/>
      <dgm:t>
        <a:bodyPr/>
        <a:lstStyle/>
        <a:p>
          <a:endParaRPr lang="en-GB"/>
        </a:p>
      </dgm:t>
    </dgm:pt>
    <dgm:pt modelId="{78E00630-2883-4C09-8DE6-9D63621D89FD}" type="sibTrans" cxnId="{E7273433-0CCC-4A9B-9909-F058ED803836}">
      <dgm:prSet/>
      <dgm:spPr/>
      <dgm:t>
        <a:bodyPr/>
        <a:lstStyle/>
        <a:p>
          <a:endParaRPr lang="en-GB"/>
        </a:p>
      </dgm:t>
    </dgm:pt>
    <dgm:pt modelId="{C3813583-A6E3-4F5B-B184-FC9FF549379A}">
      <dgm:prSet/>
      <dgm:spPr/>
      <dgm:t>
        <a:bodyPr/>
        <a:lstStyle/>
        <a:p>
          <a:r>
            <a:rPr lang="en-GB" dirty="0"/>
            <a:t>study selection and data extraction procedures</a:t>
          </a:r>
        </a:p>
      </dgm:t>
    </dgm:pt>
    <dgm:pt modelId="{F3C53600-35E1-487E-8C26-F6181C4FAE2C}" type="parTrans" cxnId="{CA7C882F-75C6-4A9E-9408-9CB16CB31C03}">
      <dgm:prSet/>
      <dgm:spPr/>
      <dgm:t>
        <a:bodyPr/>
        <a:lstStyle/>
        <a:p>
          <a:endParaRPr lang="en-GB"/>
        </a:p>
      </dgm:t>
    </dgm:pt>
    <dgm:pt modelId="{61F85EB0-FED3-4810-AE97-D3B92F97BD02}" type="sibTrans" cxnId="{CA7C882F-75C6-4A9E-9408-9CB16CB31C03}">
      <dgm:prSet/>
      <dgm:spPr/>
      <dgm:t>
        <a:bodyPr/>
        <a:lstStyle/>
        <a:p>
          <a:endParaRPr lang="en-GB"/>
        </a:p>
      </dgm:t>
    </dgm:pt>
    <dgm:pt modelId="{AEA29D0E-3079-4D0C-BF4F-65F1CC7B6FD6}">
      <dgm:prSet/>
      <dgm:spPr/>
      <dgm:t>
        <a:bodyPr/>
        <a:lstStyle/>
        <a:p>
          <a:r>
            <a:rPr lang="en-GB" dirty="0"/>
            <a:t>risk of bias assessment</a:t>
          </a:r>
        </a:p>
      </dgm:t>
    </dgm:pt>
    <dgm:pt modelId="{820BA641-CC7B-4AFC-B93F-07BAE2DE0350}" type="parTrans" cxnId="{5D6E6B92-9B3A-4DB6-8FF1-AF4524AFAD08}">
      <dgm:prSet/>
      <dgm:spPr/>
      <dgm:t>
        <a:bodyPr/>
        <a:lstStyle/>
        <a:p>
          <a:endParaRPr lang="en-GB"/>
        </a:p>
      </dgm:t>
    </dgm:pt>
    <dgm:pt modelId="{B2F0842D-28B8-4938-B577-FEDC0B4DBF7F}" type="sibTrans" cxnId="{5D6E6B92-9B3A-4DB6-8FF1-AF4524AFAD08}">
      <dgm:prSet/>
      <dgm:spPr/>
      <dgm:t>
        <a:bodyPr/>
        <a:lstStyle/>
        <a:p>
          <a:endParaRPr lang="en-GB"/>
        </a:p>
      </dgm:t>
    </dgm:pt>
    <dgm:pt modelId="{9B7E1535-7F79-48C1-9B0C-6CF4D4561BF1}">
      <dgm:prSet/>
      <dgm:spPr/>
      <dgm:t>
        <a:bodyPr/>
        <a:lstStyle/>
        <a:p>
          <a:r>
            <a:rPr lang="en-GB" dirty="0"/>
            <a:t>data synthesis</a:t>
          </a:r>
        </a:p>
      </dgm:t>
    </dgm:pt>
    <dgm:pt modelId="{241C1859-2189-4654-87B2-565C27EB38EB}" type="parTrans" cxnId="{F31802E9-AACA-4F3E-B3F7-C13C9CB7CC97}">
      <dgm:prSet/>
      <dgm:spPr/>
      <dgm:t>
        <a:bodyPr/>
        <a:lstStyle/>
        <a:p>
          <a:endParaRPr lang="en-GB"/>
        </a:p>
      </dgm:t>
    </dgm:pt>
    <dgm:pt modelId="{341EB16F-99E0-4E2C-9D1C-757C222802E2}" type="sibTrans" cxnId="{F31802E9-AACA-4F3E-B3F7-C13C9CB7CC97}">
      <dgm:prSet/>
      <dgm:spPr/>
      <dgm:t>
        <a:bodyPr/>
        <a:lstStyle/>
        <a:p>
          <a:endParaRPr lang="en-GB"/>
        </a:p>
      </dgm:t>
    </dgm:pt>
    <dgm:pt modelId="{FEAEC2D5-189F-42C1-BDF5-BF0C602C4B27}">
      <dgm:prSet/>
      <dgm:spPr/>
      <dgm:t>
        <a:bodyPr/>
        <a:lstStyle/>
        <a:p>
          <a:r>
            <a:rPr lang="en-GB" dirty="0"/>
            <a:t>publication bias investigation</a:t>
          </a:r>
        </a:p>
      </dgm:t>
    </dgm:pt>
    <dgm:pt modelId="{09BE7966-E276-4211-AF54-CF851F2EA8BD}" type="parTrans" cxnId="{BD9D23AF-0233-4063-A921-7AE21E8FB064}">
      <dgm:prSet/>
      <dgm:spPr/>
      <dgm:t>
        <a:bodyPr/>
        <a:lstStyle/>
        <a:p>
          <a:endParaRPr lang="en-GB"/>
        </a:p>
      </dgm:t>
    </dgm:pt>
    <dgm:pt modelId="{E3BD8EDB-89C8-4982-AB47-2E691763F361}" type="sibTrans" cxnId="{BD9D23AF-0233-4063-A921-7AE21E8FB064}">
      <dgm:prSet/>
      <dgm:spPr/>
      <dgm:t>
        <a:bodyPr/>
        <a:lstStyle/>
        <a:p>
          <a:endParaRPr lang="en-GB"/>
        </a:p>
      </dgm:t>
    </dgm:pt>
    <dgm:pt modelId="{73C553E7-6DDB-4C26-95DE-4D7E67E0FFB2}">
      <dgm:prSet/>
      <dgm:spPr/>
      <dgm:t>
        <a:bodyPr/>
        <a:lstStyle/>
        <a:p>
          <a:r>
            <a:rPr lang="en-GB" dirty="0"/>
            <a:t>Scores for the reviewed papers:</a:t>
          </a:r>
        </a:p>
      </dgm:t>
    </dgm:pt>
    <dgm:pt modelId="{FC7D0C3E-5E60-4332-9A75-8E71B701A33F}" type="parTrans" cxnId="{015D4A3D-97B2-49F6-9C94-F3D67065F419}">
      <dgm:prSet/>
      <dgm:spPr/>
      <dgm:t>
        <a:bodyPr/>
        <a:lstStyle/>
        <a:p>
          <a:endParaRPr lang="en-GB"/>
        </a:p>
      </dgm:t>
    </dgm:pt>
    <dgm:pt modelId="{B12D7FB5-0A0C-41B0-88CD-C98EE89FD64C}" type="sibTrans" cxnId="{015D4A3D-97B2-49F6-9C94-F3D67065F419}">
      <dgm:prSet/>
      <dgm:spPr/>
      <dgm:t>
        <a:bodyPr/>
        <a:lstStyle/>
        <a:p>
          <a:endParaRPr lang="en-GB"/>
        </a:p>
      </dgm:t>
    </dgm:pt>
    <dgm:pt modelId="{ED6D6622-FC48-494C-BD85-3087EE65348E}">
      <dgm:prSet/>
      <dgm:spPr/>
      <dgm:t>
        <a:bodyPr/>
        <a:lstStyle/>
        <a:p>
          <a:r>
            <a:rPr lang="en-GB" dirty="0"/>
            <a:t>Scores were weighted, summed and a mean taken to provide comparability</a:t>
          </a:r>
        </a:p>
      </dgm:t>
    </dgm:pt>
    <dgm:pt modelId="{39EDDA5A-FE0B-487A-A2CA-421CEE300168}" type="parTrans" cxnId="{DD96D29C-B554-4E1A-9183-8061ACB25648}">
      <dgm:prSet/>
      <dgm:spPr/>
      <dgm:t>
        <a:bodyPr/>
        <a:lstStyle/>
        <a:p>
          <a:endParaRPr lang="en-GB"/>
        </a:p>
      </dgm:t>
    </dgm:pt>
    <dgm:pt modelId="{70F2BE1C-0CDD-48AA-AC28-96A2A9255D53}" type="sibTrans" cxnId="{DD96D29C-B554-4E1A-9183-8061ACB25648}">
      <dgm:prSet/>
      <dgm:spPr/>
      <dgm:t>
        <a:bodyPr/>
        <a:lstStyle/>
        <a:p>
          <a:endParaRPr lang="en-GB"/>
        </a:p>
      </dgm:t>
    </dgm:pt>
    <dgm:pt modelId="{D8F6D206-D797-45F2-B6CE-EACB2CE84429}" type="pres">
      <dgm:prSet presAssocID="{4EE6BE76-A4FC-417C-8CF7-BBB6D685B26B}" presName="linear" presStyleCnt="0">
        <dgm:presLayoutVars>
          <dgm:animLvl val="lvl"/>
          <dgm:resizeHandles val="exact"/>
        </dgm:presLayoutVars>
      </dgm:prSet>
      <dgm:spPr/>
    </dgm:pt>
    <dgm:pt modelId="{E7A0D301-D51B-4325-80B9-36D40315F4DE}" type="pres">
      <dgm:prSet presAssocID="{DF0536FC-827D-4DCA-A5BE-9CFE95828B83}" presName="parentText" presStyleLbl="node1" presStyleIdx="0" presStyleCnt="4">
        <dgm:presLayoutVars>
          <dgm:chMax val="0"/>
          <dgm:bulletEnabled val="1"/>
        </dgm:presLayoutVars>
      </dgm:prSet>
      <dgm:spPr/>
    </dgm:pt>
    <dgm:pt modelId="{3658ACC8-1DDB-41AA-AC94-E3EF4D448334}" type="pres">
      <dgm:prSet presAssocID="{8289270F-49CB-4B55-BAB2-08CA143B50A8}" presName="spacer" presStyleCnt="0"/>
      <dgm:spPr/>
    </dgm:pt>
    <dgm:pt modelId="{3E84246C-ABDF-4194-B604-5CF9AE3F132B}" type="pres">
      <dgm:prSet presAssocID="{68ACF76D-271A-41E1-B7AB-9D9FBA944345}" presName="parentText" presStyleLbl="node1" presStyleIdx="1" presStyleCnt="4">
        <dgm:presLayoutVars>
          <dgm:chMax val="0"/>
          <dgm:bulletEnabled val="1"/>
        </dgm:presLayoutVars>
      </dgm:prSet>
      <dgm:spPr/>
    </dgm:pt>
    <dgm:pt modelId="{108AF9D5-ADD0-4630-AE86-D85F26649CA4}" type="pres">
      <dgm:prSet presAssocID="{68ACF76D-271A-41E1-B7AB-9D9FBA944345}" presName="childText" presStyleLbl="revTx" presStyleIdx="0" presStyleCnt="1">
        <dgm:presLayoutVars>
          <dgm:bulletEnabled val="1"/>
        </dgm:presLayoutVars>
      </dgm:prSet>
      <dgm:spPr/>
    </dgm:pt>
    <dgm:pt modelId="{4272F110-734B-44A7-A8BF-61AFAF7B600E}" type="pres">
      <dgm:prSet presAssocID="{ED6D6622-FC48-494C-BD85-3087EE65348E}" presName="parentText" presStyleLbl="node1" presStyleIdx="2" presStyleCnt="4">
        <dgm:presLayoutVars>
          <dgm:chMax val="0"/>
          <dgm:bulletEnabled val="1"/>
        </dgm:presLayoutVars>
      </dgm:prSet>
      <dgm:spPr/>
    </dgm:pt>
    <dgm:pt modelId="{C1BBAC67-99F3-43DE-956F-F1BB5E0024F4}" type="pres">
      <dgm:prSet presAssocID="{70F2BE1C-0CDD-48AA-AC28-96A2A9255D53}" presName="spacer" presStyleCnt="0"/>
      <dgm:spPr/>
    </dgm:pt>
    <dgm:pt modelId="{DF0F1C0F-4CF8-4CEE-A00E-85CBA5BF8B33}" type="pres">
      <dgm:prSet presAssocID="{73C553E7-6DDB-4C26-95DE-4D7E67E0FFB2}" presName="parentText" presStyleLbl="node1" presStyleIdx="3" presStyleCnt="4">
        <dgm:presLayoutVars>
          <dgm:chMax val="0"/>
          <dgm:bulletEnabled val="1"/>
        </dgm:presLayoutVars>
      </dgm:prSet>
      <dgm:spPr/>
    </dgm:pt>
  </dgm:ptLst>
  <dgm:cxnLst>
    <dgm:cxn modelId="{B74BED13-207D-4F33-A998-BEC628BDC9BD}" srcId="{4EE6BE76-A4FC-417C-8CF7-BBB6D685B26B}" destId="{DF0536FC-827D-4DCA-A5BE-9CFE95828B83}" srcOrd="0" destOrd="0" parTransId="{C12E54E7-718A-42A6-B71C-4E4413E7F5A8}" sibTransId="{8289270F-49CB-4B55-BAB2-08CA143B50A8}"/>
    <dgm:cxn modelId="{B3D1901C-6875-4F50-9F85-6226FE5764F3}" type="presOf" srcId="{4EE6BE76-A4FC-417C-8CF7-BBB6D685B26B}" destId="{D8F6D206-D797-45F2-B6CE-EACB2CE84429}" srcOrd="0" destOrd="0" presId="urn:microsoft.com/office/officeart/2005/8/layout/vList2"/>
    <dgm:cxn modelId="{FE98671E-4079-4DB2-80C0-D41A1DDF021A}" type="presOf" srcId="{FEAEC2D5-189F-42C1-BDF5-BF0C602C4B27}" destId="{108AF9D5-ADD0-4630-AE86-D85F26649CA4}" srcOrd="0" destOrd="5" presId="urn:microsoft.com/office/officeart/2005/8/layout/vList2"/>
    <dgm:cxn modelId="{CA7C882F-75C6-4A9E-9408-9CB16CB31C03}" srcId="{68ACF76D-271A-41E1-B7AB-9D9FBA944345}" destId="{C3813583-A6E3-4F5B-B184-FC9FF549379A}" srcOrd="2" destOrd="0" parTransId="{F3C53600-35E1-487E-8C26-F6181C4FAE2C}" sibTransId="{61F85EB0-FED3-4810-AE97-D3B92F97BD02}"/>
    <dgm:cxn modelId="{E7273433-0CCC-4A9B-9909-F058ED803836}" srcId="{68ACF76D-271A-41E1-B7AB-9D9FBA944345}" destId="{34C812BD-C67D-4872-B9FC-804BFBDA1419}" srcOrd="1" destOrd="0" parTransId="{745FB091-CE1B-4038-A84C-3EA300591EB3}" sibTransId="{78E00630-2883-4C09-8DE6-9D63621D89FD}"/>
    <dgm:cxn modelId="{015D4A3D-97B2-49F6-9C94-F3D67065F419}" srcId="{4EE6BE76-A4FC-417C-8CF7-BBB6D685B26B}" destId="{73C553E7-6DDB-4C26-95DE-4D7E67E0FFB2}" srcOrd="3" destOrd="0" parTransId="{FC7D0C3E-5E60-4332-9A75-8E71B701A33F}" sibTransId="{B12D7FB5-0A0C-41B0-88CD-C98EE89FD64C}"/>
    <dgm:cxn modelId="{A531716C-B579-4F3D-91FF-8D107BAC4921}" type="presOf" srcId="{68ACF76D-271A-41E1-B7AB-9D9FBA944345}" destId="{3E84246C-ABDF-4194-B604-5CF9AE3F132B}" srcOrd="0" destOrd="0" presId="urn:microsoft.com/office/officeart/2005/8/layout/vList2"/>
    <dgm:cxn modelId="{AC0F4776-FB10-4CAE-AEDB-C3524C50F411}" type="presOf" srcId="{ED6D6622-FC48-494C-BD85-3087EE65348E}" destId="{4272F110-734B-44A7-A8BF-61AFAF7B600E}" srcOrd="0" destOrd="0" presId="urn:microsoft.com/office/officeart/2005/8/layout/vList2"/>
    <dgm:cxn modelId="{FDDEE676-D180-443A-97A7-0CDBFE7E009C}" type="presOf" srcId="{C3813583-A6E3-4F5B-B184-FC9FF549379A}" destId="{108AF9D5-ADD0-4630-AE86-D85F26649CA4}" srcOrd="0" destOrd="2" presId="urn:microsoft.com/office/officeart/2005/8/layout/vList2"/>
    <dgm:cxn modelId="{C7560D7F-FB1B-4B8F-999F-BEB77EC47B16}" type="presOf" srcId="{DF0536FC-827D-4DCA-A5BE-9CFE95828B83}" destId="{E7A0D301-D51B-4325-80B9-36D40315F4DE}" srcOrd="0" destOrd="0" presId="urn:microsoft.com/office/officeart/2005/8/layout/vList2"/>
    <dgm:cxn modelId="{AB435A88-ABF1-49A2-8264-60F2A59B626A}" type="presOf" srcId="{27815442-930E-4F33-A9E3-9E347A6B5C3D}" destId="{108AF9D5-ADD0-4630-AE86-D85F26649CA4}" srcOrd="0" destOrd="0" presId="urn:microsoft.com/office/officeart/2005/8/layout/vList2"/>
    <dgm:cxn modelId="{5D6E6B92-9B3A-4DB6-8FF1-AF4524AFAD08}" srcId="{68ACF76D-271A-41E1-B7AB-9D9FBA944345}" destId="{AEA29D0E-3079-4D0C-BF4F-65F1CC7B6FD6}" srcOrd="3" destOrd="0" parTransId="{820BA641-CC7B-4AFC-B93F-07BAE2DE0350}" sibTransId="{B2F0842D-28B8-4938-B577-FEDC0B4DBF7F}"/>
    <dgm:cxn modelId="{80840D98-E34F-4790-AFFF-D01669A8DD00}" type="presOf" srcId="{73C553E7-6DDB-4C26-95DE-4D7E67E0FFB2}" destId="{DF0F1C0F-4CF8-4CEE-A00E-85CBA5BF8B33}" srcOrd="0" destOrd="0" presId="urn:microsoft.com/office/officeart/2005/8/layout/vList2"/>
    <dgm:cxn modelId="{119AAE99-67CA-4813-870D-E86853F2B334}" type="presOf" srcId="{AEA29D0E-3079-4D0C-BF4F-65F1CC7B6FD6}" destId="{108AF9D5-ADD0-4630-AE86-D85F26649CA4}" srcOrd="0" destOrd="3" presId="urn:microsoft.com/office/officeart/2005/8/layout/vList2"/>
    <dgm:cxn modelId="{DD96D29C-B554-4E1A-9183-8061ACB25648}" srcId="{4EE6BE76-A4FC-417C-8CF7-BBB6D685B26B}" destId="{ED6D6622-FC48-494C-BD85-3087EE65348E}" srcOrd="2" destOrd="0" parTransId="{39EDDA5A-FE0B-487A-A2CA-421CEE300168}" sibTransId="{70F2BE1C-0CDD-48AA-AC28-96A2A9255D53}"/>
    <dgm:cxn modelId="{BD9D23AF-0233-4063-A921-7AE21E8FB064}" srcId="{68ACF76D-271A-41E1-B7AB-9D9FBA944345}" destId="{FEAEC2D5-189F-42C1-BDF5-BF0C602C4B27}" srcOrd="5" destOrd="0" parTransId="{09BE7966-E276-4211-AF54-CF851F2EA8BD}" sibTransId="{E3BD8EDB-89C8-4982-AB47-2E691763F361}"/>
    <dgm:cxn modelId="{A88E22B4-4C19-4DF1-9D76-303B936E451C}" srcId="{68ACF76D-271A-41E1-B7AB-9D9FBA944345}" destId="{27815442-930E-4F33-A9E3-9E347A6B5C3D}" srcOrd="0" destOrd="0" parTransId="{67F41CF1-1643-4CB6-B659-4833EE5E4577}" sibTransId="{10C64411-1C49-431B-A41D-0C47FE805DF1}"/>
    <dgm:cxn modelId="{2B4CE5BC-C611-42F7-9AE1-130A885964CE}" type="presOf" srcId="{9B7E1535-7F79-48C1-9B0C-6CF4D4561BF1}" destId="{108AF9D5-ADD0-4630-AE86-D85F26649CA4}" srcOrd="0" destOrd="4" presId="urn:microsoft.com/office/officeart/2005/8/layout/vList2"/>
    <dgm:cxn modelId="{F31802E9-AACA-4F3E-B3F7-C13C9CB7CC97}" srcId="{68ACF76D-271A-41E1-B7AB-9D9FBA944345}" destId="{9B7E1535-7F79-48C1-9B0C-6CF4D4561BF1}" srcOrd="4" destOrd="0" parTransId="{241C1859-2189-4654-87B2-565C27EB38EB}" sibTransId="{341EB16F-99E0-4E2C-9D1C-757C222802E2}"/>
    <dgm:cxn modelId="{B1D660F0-A4D0-401C-BA4D-8A913F97C1C9}" srcId="{4EE6BE76-A4FC-417C-8CF7-BBB6D685B26B}" destId="{68ACF76D-271A-41E1-B7AB-9D9FBA944345}" srcOrd="1" destOrd="0" parTransId="{6962E530-43F8-48B0-A67F-26F99F1015C6}" sibTransId="{401EDA1F-3DF9-46E0-948B-0DBFFE7E0F3A}"/>
    <dgm:cxn modelId="{0740F5FE-D6F5-4AAD-B7BF-03DC94B31637}" type="presOf" srcId="{34C812BD-C67D-4872-B9FC-804BFBDA1419}" destId="{108AF9D5-ADD0-4630-AE86-D85F26649CA4}" srcOrd="0" destOrd="1" presId="urn:microsoft.com/office/officeart/2005/8/layout/vList2"/>
    <dgm:cxn modelId="{42B77729-A056-48C1-93AB-05413C6D718F}" type="presParOf" srcId="{D8F6D206-D797-45F2-B6CE-EACB2CE84429}" destId="{E7A0D301-D51B-4325-80B9-36D40315F4DE}" srcOrd="0" destOrd="0" presId="urn:microsoft.com/office/officeart/2005/8/layout/vList2"/>
    <dgm:cxn modelId="{6E324843-6108-4ED8-8978-93EDCEF63F28}" type="presParOf" srcId="{D8F6D206-D797-45F2-B6CE-EACB2CE84429}" destId="{3658ACC8-1DDB-41AA-AC94-E3EF4D448334}" srcOrd="1" destOrd="0" presId="urn:microsoft.com/office/officeart/2005/8/layout/vList2"/>
    <dgm:cxn modelId="{3EB0C600-3766-4CCC-9DD9-2777E3F14508}" type="presParOf" srcId="{D8F6D206-D797-45F2-B6CE-EACB2CE84429}" destId="{3E84246C-ABDF-4194-B604-5CF9AE3F132B}" srcOrd="2" destOrd="0" presId="urn:microsoft.com/office/officeart/2005/8/layout/vList2"/>
    <dgm:cxn modelId="{E010DFD8-F349-46EB-A593-71678797A5AA}" type="presParOf" srcId="{D8F6D206-D797-45F2-B6CE-EACB2CE84429}" destId="{108AF9D5-ADD0-4630-AE86-D85F26649CA4}" srcOrd="3" destOrd="0" presId="urn:microsoft.com/office/officeart/2005/8/layout/vList2"/>
    <dgm:cxn modelId="{960B5072-FF38-432C-937D-24F467E724FA}" type="presParOf" srcId="{D8F6D206-D797-45F2-B6CE-EACB2CE84429}" destId="{4272F110-734B-44A7-A8BF-61AFAF7B600E}" srcOrd="4" destOrd="0" presId="urn:microsoft.com/office/officeart/2005/8/layout/vList2"/>
    <dgm:cxn modelId="{9A68D1A5-E678-4913-9487-3BB49E802333}" type="presParOf" srcId="{D8F6D206-D797-45F2-B6CE-EACB2CE84429}" destId="{C1BBAC67-99F3-43DE-956F-F1BB5E0024F4}" srcOrd="5" destOrd="0" presId="urn:microsoft.com/office/officeart/2005/8/layout/vList2"/>
    <dgm:cxn modelId="{7756EB56-D1D4-4516-9525-4FAA31ADD604}" type="presParOf" srcId="{D8F6D206-D797-45F2-B6CE-EACB2CE84429}" destId="{DF0F1C0F-4CF8-4CEE-A00E-85CBA5BF8B33}" srcOrd="6"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B34762C-44FC-439B-85FD-8FD83A446CBF}"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GB"/>
        </a:p>
      </dgm:t>
    </dgm:pt>
    <dgm:pt modelId="{65EADAC8-8CBD-49B9-BFEE-CAE5D17E2603}">
      <dgm:prSet/>
      <dgm:spPr/>
      <dgm:t>
        <a:bodyPr/>
        <a:lstStyle/>
        <a:p>
          <a:r>
            <a:rPr lang="en-GB" dirty="0"/>
            <a:t>Patient expertise in managing their condition. This includes understanding of their condition, greater efficacy in management, and empowerment</a:t>
          </a:r>
        </a:p>
      </dgm:t>
      <dgm:extLst>
        <a:ext uri="{E40237B7-FDA0-4F09-8148-C483321AD2D9}">
          <dgm14:cNvPr xmlns:dgm14="http://schemas.microsoft.com/office/drawing/2010/diagram" id="0" name="" descr="SmartArt showing text:&#10;•Patient expertise in managing their condition. This includes understanding of their condition, greater efficacy in management, and empowerment"/>
        </a:ext>
      </dgm:extLst>
    </dgm:pt>
    <dgm:pt modelId="{DF0BF63A-C350-4199-B168-2E8007C8A316}" type="parTrans" cxnId="{3728B93F-E676-4D41-93D7-8B205B01C126}">
      <dgm:prSet/>
      <dgm:spPr/>
      <dgm:t>
        <a:bodyPr/>
        <a:lstStyle/>
        <a:p>
          <a:endParaRPr lang="en-GB"/>
        </a:p>
      </dgm:t>
    </dgm:pt>
    <dgm:pt modelId="{9296B060-F84E-4395-A0B7-F47FA55F4E8F}" type="sibTrans" cxnId="{3728B93F-E676-4D41-93D7-8B205B01C126}">
      <dgm:prSet/>
      <dgm:spPr/>
      <dgm:t>
        <a:bodyPr/>
        <a:lstStyle/>
        <a:p>
          <a:endParaRPr lang="en-GB"/>
        </a:p>
      </dgm:t>
    </dgm:pt>
    <dgm:pt modelId="{ED1EB8B8-D40D-4135-A0EF-D96970AEDD08}">
      <dgm:prSet/>
      <dgm:spPr/>
      <dgm:t>
        <a:bodyPr/>
        <a:lstStyle/>
        <a:p>
          <a:r>
            <a:rPr lang="en-GB" dirty="0"/>
            <a:t>Clinical. Measured using standard clinical outcomes. Evidence varies in strength.</a:t>
          </a:r>
        </a:p>
      </dgm:t>
      <dgm:extLst>
        <a:ext uri="{E40237B7-FDA0-4F09-8148-C483321AD2D9}">
          <dgm14:cNvPr xmlns:dgm14="http://schemas.microsoft.com/office/drawing/2010/diagram" id="0" name="" descr="SmartArt showing text:&#10;•Clinical. Measured using standard clinical outcomes. Evidence varies in strength."/>
        </a:ext>
      </dgm:extLst>
    </dgm:pt>
    <dgm:pt modelId="{199521C3-6CDC-4092-89DF-9D68CA61932B}" type="parTrans" cxnId="{3FD991AC-2244-43BD-9A49-6D3D8B6A6810}">
      <dgm:prSet/>
      <dgm:spPr/>
      <dgm:t>
        <a:bodyPr/>
        <a:lstStyle/>
        <a:p>
          <a:endParaRPr lang="en-GB"/>
        </a:p>
      </dgm:t>
    </dgm:pt>
    <dgm:pt modelId="{10C7DB57-4244-40A8-9B7C-2239D53681B2}" type="sibTrans" cxnId="{3FD991AC-2244-43BD-9A49-6D3D8B6A6810}">
      <dgm:prSet/>
      <dgm:spPr/>
      <dgm:t>
        <a:bodyPr/>
        <a:lstStyle/>
        <a:p>
          <a:endParaRPr lang="en-GB"/>
        </a:p>
      </dgm:t>
    </dgm:pt>
    <dgm:pt modelId="{9CF81A45-EDB2-4396-BF98-896273F797B6}">
      <dgm:prSet/>
      <dgm:spPr/>
      <dgm:t>
        <a:bodyPr/>
        <a:lstStyle/>
        <a:p>
          <a:r>
            <a:rPr lang="en-GB" dirty="0"/>
            <a:t>General health, both physical and mental. The review of NICE Guidelines strongly supported this theme.</a:t>
          </a:r>
        </a:p>
      </dgm:t>
      <dgm:extLst>
        <a:ext uri="{E40237B7-FDA0-4F09-8148-C483321AD2D9}">
          <dgm14:cNvPr xmlns:dgm14="http://schemas.microsoft.com/office/drawing/2010/diagram" id="0" name="" descr="SmartArt showing text:&#10;•General health, both physical and mental. The review of NICE Guidelines strongly supported this theme."/>
        </a:ext>
      </dgm:extLst>
    </dgm:pt>
    <dgm:pt modelId="{DA8533C0-1122-4225-A12B-BF020AD9B84F}" type="parTrans" cxnId="{CE47B731-DE2B-4A7B-86D4-D12BC24A1524}">
      <dgm:prSet/>
      <dgm:spPr/>
      <dgm:t>
        <a:bodyPr/>
        <a:lstStyle/>
        <a:p>
          <a:endParaRPr lang="en-GB"/>
        </a:p>
      </dgm:t>
    </dgm:pt>
    <dgm:pt modelId="{839119E0-1E4D-487D-B5FC-DAC962B941BC}" type="sibTrans" cxnId="{CE47B731-DE2B-4A7B-86D4-D12BC24A1524}">
      <dgm:prSet/>
      <dgm:spPr/>
      <dgm:t>
        <a:bodyPr/>
        <a:lstStyle/>
        <a:p>
          <a:endParaRPr lang="en-GB"/>
        </a:p>
      </dgm:t>
    </dgm:pt>
    <dgm:pt modelId="{80BFECC7-955C-487A-A63E-B2FFACA79A69}">
      <dgm:prSet/>
      <dgm:spPr/>
      <dgm:t>
        <a:bodyPr/>
        <a:lstStyle/>
        <a:p>
          <a:r>
            <a:rPr lang="en-GB" dirty="0"/>
            <a:t>System. Clear evidence that PC interventions reduce hospital admissions, at least for COPD and diabetes. </a:t>
          </a:r>
        </a:p>
      </dgm:t>
      <dgm:extLst>
        <a:ext uri="{E40237B7-FDA0-4F09-8148-C483321AD2D9}">
          <dgm14:cNvPr xmlns:dgm14="http://schemas.microsoft.com/office/drawing/2010/diagram" id="0" name="" descr="SmartArt showing text:&#10;•System. Clear evidence that PC interventions reduce hospital admissions, at least for COPD and diabetes. &#10;"/>
        </a:ext>
      </dgm:extLst>
    </dgm:pt>
    <dgm:pt modelId="{4AFC64D8-18CB-463C-AB84-93B0683F87A4}" type="parTrans" cxnId="{A0271979-F545-46C8-A0AF-353E8DA72915}">
      <dgm:prSet/>
      <dgm:spPr/>
      <dgm:t>
        <a:bodyPr/>
        <a:lstStyle/>
        <a:p>
          <a:endParaRPr lang="en-GB"/>
        </a:p>
      </dgm:t>
    </dgm:pt>
    <dgm:pt modelId="{6C5CE05E-946E-4C87-8907-4B3153E3FC66}" type="sibTrans" cxnId="{A0271979-F545-46C8-A0AF-353E8DA72915}">
      <dgm:prSet/>
      <dgm:spPr/>
      <dgm:t>
        <a:bodyPr/>
        <a:lstStyle/>
        <a:p>
          <a:endParaRPr lang="en-GB"/>
        </a:p>
      </dgm:t>
    </dgm:pt>
    <dgm:pt modelId="{5FC741A3-6377-4F9B-8217-3913DE751F00}">
      <dgm:prSet/>
      <dgm:spPr/>
      <dgm:t>
        <a:bodyPr/>
        <a:lstStyle/>
        <a:p>
          <a:r>
            <a:rPr lang="en-GB" dirty="0"/>
            <a:t>Quality of life/ wellbeing. Factors beyond health that improve the patient’s quality of life.</a:t>
          </a:r>
        </a:p>
      </dgm:t>
      <dgm:extLst>
        <a:ext uri="{E40237B7-FDA0-4F09-8148-C483321AD2D9}">
          <dgm14:cNvPr xmlns:dgm14="http://schemas.microsoft.com/office/drawing/2010/diagram" id="0" name="" descr="SmartArt showing text:&#10;•Quality of life/ wellbeing. Factors beyond health that improve the patient’s quality of life.&#10;"/>
        </a:ext>
      </dgm:extLst>
    </dgm:pt>
    <dgm:pt modelId="{2FC12A46-5197-4168-A761-A48C77CC6113}" type="parTrans" cxnId="{AAB08148-7F8C-44F2-9BA7-07EA2DA97345}">
      <dgm:prSet/>
      <dgm:spPr/>
      <dgm:t>
        <a:bodyPr/>
        <a:lstStyle/>
        <a:p>
          <a:endParaRPr lang="en-GB"/>
        </a:p>
      </dgm:t>
    </dgm:pt>
    <dgm:pt modelId="{97E1FBC7-5723-4297-9675-5A3FA8F9EA39}" type="sibTrans" cxnId="{AAB08148-7F8C-44F2-9BA7-07EA2DA97345}">
      <dgm:prSet/>
      <dgm:spPr/>
      <dgm:t>
        <a:bodyPr/>
        <a:lstStyle/>
        <a:p>
          <a:endParaRPr lang="en-GB"/>
        </a:p>
      </dgm:t>
    </dgm:pt>
    <dgm:pt modelId="{9CB47DE5-9C2E-4017-8CC4-B27BF68AC204}" type="pres">
      <dgm:prSet presAssocID="{CB34762C-44FC-439B-85FD-8FD83A446CBF}" presName="diagram" presStyleCnt="0">
        <dgm:presLayoutVars>
          <dgm:dir/>
          <dgm:resizeHandles val="exact"/>
        </dgm:presLayoutVars>
      </dgm:prSet>
      <dgm:spPr/>
    </dgm:pt>
    <dgm:pt modelId="{2B967B3D-6572-4B2D-9EE2-0D8020DB14E2}" type="pres">
      <dgm:prSet presAssocID="{65EADAC8-8CBD-49B9-BFEE-CAE5D17E2603}" presName="node" presStyleLbl="node1" presStyleIdx="0" presStyleCnt="5">
        <dgm:presLayoutVars>
          <dgm:bulletEnabled val="1"/>
        </dgm:presLayoutVars>
      </dgm:prSet>
      <dgm:spPr/>
    </dgm:pt>
    <dgm:pt modelId="{0F673AC2-FCE6-4C27-BB18-88E3875A90E4}" type="pres">
      <dgm:prSet presAssocID="{9296B060-F84E-4395-A0B7-F47FA55F4E8F}" presName="sibTrans" presStyleCnt="0"/>
      <dgm:spPr/>
    </dgm:pt>
    <dgm:pt modelId="{79607CDE-06B6-49F1-B542-598EF4940D13}" type="pres">
      <dgm:prSet presAssocID="{ED1EB8B8-D40D-4135-A0EF-D96970AEDD08}" presName="node" presStyleLbl="node1" presStyleIdx="1" presStyleCnt="5">
        <dgm:presLayoutVars>
          <dgm:bulletEnabled val="1"/>
        </dgm:presLayoutVars>
      </dgm:prSet>
      <dgm:spPr/>
    </dgm:pt>
    <dgm:pt modelId="{A298A879-175B-44A3-AA1A-8358B3ED9EFB}" type="pres">
      <dgm:prSet presAssocID="{10C7DB57-4244-40A8-9B7C-2239D53681B2}" presName="sibTrans" presStyleCnt="0"/>
      <dgm:spPr/>
    </dgm:pt>
    <dgm:pt modelId="{C5896E8E-2218-46B5-BE91-AD164D39E284}" type="pres">
      <dgm:prSet presAssocID="{9CF81A45-EDB2-4396-BF98-896273F797B6}" presName="node" presStyleLbl="node1" presStyleIdx="2" presStyleCnt="5">
        <dgm:presLayoutVars>
          <dgm:bulletEnabled val="1"/>
        </dgm:presLayoutVars>
      </dgm:prSet>
      <dgm:spPr/>
    </dgm:pt>
    <dgm:pt modelId="{0A9E0814-0C7C-4BE1-851F-459947B7FC55}" type="pres">
      <dgm:prSet presAssocID="{839119E0-1E4D-487D-B5FC-DAC962B941BC}" presName="sibTrans" presStyleCnt="0"/>
      <dgm:spPr/>
    </dgm:pt>
    <dgm:pt modelId="{296F76AC-EF9E-4B1E-9435-39BA3E717C7B}" type="pres">
      <dgm:prSet presAssocID="{80BFECC7-955C-487A-A63E-B2FFACA79A69}" presName="node" presStyleLbl="node1" presStyleIdx="3" presStyleCnt="5">
        <dgm:presLayoutVars>
          <dgm:bulletEnabled val="1"/>
        </dgm:presLayoutVars>
      </dgm:prSet>
      <dgm:spPr/>
    </dgm:pt>
    <dgm:pt modelId="{601331B3-DD0E-4741-B565-6285F9DD2879}" type="pres">
      <dgm:prSet presAssocID="{6C5CE05E-946E-4C87-8907-4B3153E3FC66}" presName="sibTrans" presStyleCnt="0"/>
      <dgm:spPr/>
    </dgm:pt>
    <dgm:pt modelId="{C70D5F2F-885C-4E76-B88A-421CD8F48939}" type="pres">
      <dgm:prSet presAssocID="{5FC741A3-6377-4F9B-8217-3913DE751F00}" presName="node" presStyleLbl="node1" presStyleIdx="4" presStyleCnt="5">
        <dgm:presLayoutVars>
          <dgm:bulletEnabled val="1"/>
        </dgm:presLayoutVars>
      </dgm:prSet>
      <dgm:spPr/>
    </dgm:pt>
  </dgm:ptLst>
  <dgm:cxnLst>
    <dgm:cxn modelId="{9469E41C-D971-4EFA-A466-3DCBF359E718}" type="presOf" srcId="{80BFECC7-955C-487A-A63E-B2FFACA79A69}" destId="{296F76AC-EF9E-4B1E-9435-39BA3E717C7B}" srcOrd="0" destOrd="0" presId="urn:microsoft.com/office/officeart/2005/8/layout/default"/>
    <dgm:cxn modelId="{CE47B731-DE2B-4A7B-86D4-D12BC24A1524}" srcId="{CB34762C-44FC-439B-85FD-8FD83A446CBF}" destId="{9CF81A45-EDB2-4396-BF98-896273F797B6}" srcOrd="2" destOrd="0" parTransId="{DA8533C0-1122-4225-A12B-BF020AD9B84F}" sibTransId="{839119E0-1E4D-487D-B5FC-DAC962B941BC}"/>
    <dgm:cxn modelId="{3728B93F-E676-4D41-93D7-8B205B01C126}" srcId="{CB34762C-44FC-439B-85FD-8FD83A446CBF}" destId="{65EADAC8-8CBD-49B9-BFEE-CAE5D17E2603}" srcOrd="0" destOrd="0" parTransId="{DF0BF63A-C350-4199-B168-2E8007C8A316}" sibTransId="{9296B060-F84E-4395-A0B7-F47FA55F4E8F}"/>
    <dgm:cxn modelId="{AAB08148-7F8C-44F2-9BA7-07EA2DA97345}" srcId="{CB34762C-44FC-439B-85FD-8FD83A446CBF}" destId="{5FC741A3-6377-4F9B-8217-3913DE751F00}" srcOrd="4" destOrd="0" parTransId="{2FC12A46-5197-4168-A761-A48C77CC6113}" sibTransId="{97E1FBC7-5723-4297-9675-5A3FA8F9EA39}"/>
    <dgm:cxn modelId="{A0271979-F545-46C8-A0AF-353E8DA72915}" srcId="{CB34762C-44FC-439B-85FD-8FD83A446CBF}" destId="{80BFECC7-955C-487A-A63E-B2FFACA79A69}" srcOrd="3" destOrd="0" parTransId="{4AFC64D8-18CB-463C-AB84-93B0683F87A4}" sibTransId="{6C5CE05E-946E-4C87-8907-4B3153E3FC66}"/>
    <dgm:cxn modelId="{ADB3A39A-E18D-45AB-AC1D-5BAFA3984C86}" type="presOf" srcId="{65EADAC8-8CBD-49B9-BFEE-CAE5D17E2603}" destId="{2B967B3D-6572-4B2D-9EE2-0D8020DB14E2}" srcOrd="0" destOrd="0" presId="urn:microsoft.com/office/officeart/2005/8/layout/default"/>
    <dgm:cxn modelId="{62A78DA1-9843-4B0C-B9CE-60142577BA6B}" type="presOf" srcId="{9CF81A45-EDB2-4396-BF98-896273F797B6}" destId="{C5896E8E-2218-46B5-BE91-AD164D39E284}" srcOrd="0" destOrd="0" presId="urn:microsoft.com/office/officeart/2005/8/layout/default"/>
    <dgm:cxn modelId="{0DDF80AA-D5BB-4CD9-A713-6FF0435AC6FB}" type="presOf" srcId="{ED1EB8B8-D40D-4135-A0EF-D96970AEDD08}" destId="{79607CDE-06B6-49F1-B542-598EF4940D13}" srcOrd="0" destOrd="0" presId="urn:microsoft.com/office/officeart/2005/8/layout/default"/>
    <dgm:cxn modelId="{3FD991AC-2244-43BD-9A49-6D3D8B6A6810}" srcId="{CB34762C-44FC-439B-85FD-8FD83A446CBF}" destId="{ED1EB8B8-D40D-4135-A0EF-D96970AEDD08}" srcOrd="1" destOrd="0" parTransId="{199521C3-6CDC-4092-89DF-9D68CA61932B}" sibTransId="{10C7DB57-4244-40A8-9B7C-2239D53681B2}"/>
    <dgm:cxn modelId="{427EA6C6-2432-4562-9016-6B8B56661D37}" type="presOf" srcId="{CB34762C-44FC-439B-85FD-8FD83A446CBF}" destId="{9CB47DE5-9C2E-4017-8CC4-B27BF68AC204}" srcOrd="0" destOrd="0" presId="urn:microsoft.com/office/officeart/2005/8/layout/default"/>
    <dgm:cxn modelId="{A74B18ED-654F-4882-83DC-03CA414B6F6D}" type="presOf" srcId="{5FC741A3-6377-4F9B-8217-3913DE751F00}" destId="{C70D5F2F-885C-4E76-B88A-421CD8F48939}" srcOrd="0" destOrd="0" presId="urn:microsoft.com/office/officeart/2005/8/layout/default"/>
    <dgm:cxn modelId="{71FBD997-EF26-4C97-853E-F833FD0F4CF5}" type="presParOf" srcId="{9CB47DE5-9C2E-4017-8CC4-B27BF68AC204}" destId="{2B967B3D-6572-4B2D-9EE2-0D8020DB14E2}" srcOrd="0" destOrd="0" presId="urn:microsoft.com/office/officeart/2005/8/layout/default"/>
    <dgm:cxn modelId="{767E9A8C-23CA-4901-AEAC-3DCEA596015F}" type="presParOf" srcId="{9CB47DE5-9C2E-4017-8CC4-B27BF68AC204}" destId="{0F673AC2-FCE6-4C27-BB18-88E3875A90E4}" srcOrd="1" destOrd="0" presId="urn:microsoft.com/office/officeart/2005/8/layout/default"/>
    <dgm:cxn modelId="{E4C588B3-2C70-482B-BF23-9F5868749E80}" type="presParOf" srcId="{9CB47DE5-9C2E-4017-8CC4-B27BF68AC204}" destId="{79607CDE-06B6-49F1-B542-598EF4940D13}" srcOrd="2" destOrd="0" presId="urn:microsoft.com/office/officeart/2005/8/layout/default"/>
    <dgm:cxn modelId="{ED29C0D4-BB60-4693-BAA2-98BE16566A45}" type="presParOf" srcId="{9CB47DE5-9C2E-4017-8CC4-B27BF68AC204}" destId="{A298A879-175B-44A3-AA1A-8358B3ED9EFB}" srcOrd="3" destOrd="0" presId="urn:microsoft.com/office/officeart/2005/8/layout/default"/>
    <dgm:cxn modelId="{6473B8AA-CA20-4723-80CA-17DEF26D3A3A}" type="presParOf" srcId="{9CB47DE5-9C2E-4017-8CC4-B27BF68AC204}" destId="{C5896E8E-2218-46B5-BE91-AD164D39E284}" srcOrd="4" destOrd="0" presId="urn:microsoft.com/office/officeart/2005/8/layout/default"/>
    <dgm:cxn modelId="{AC222A1A-431A-4090-993C-D8E239AD0DD3}" type="presParOf" srcId="{9CB47DE5-9C2E-4017-8CC4-B27BF68AC204}" destId="{0A9E0814-0C7C-4BE1-851F-459947B7FC55}" srcOrd="5" destOrd="0" presId="urn:microsoft.com/office/officeart/2005/8/layout/default"/>
    <dgm:cxn modelId="{1139D66B-415C-46F2-8739-796860CA3AD3}" type="presParOf" srcId="{9CB47DE5-9C2E-4017-8CC4-B27BF68AC204}" destId="{296F76AC-EF9E-4B1E-9435-39BA3E717C7B}" srcOrd="6" destOrd="0" presId="urn:microsoft.com/office/officeart/2005/8/layout/default"/>
    <dgm:cxn modelId="{B8EEE6D2-F079-4823-A18D-6266F79E1E5C}" type="presParOf" srcId="{9CB47DE5-9C2E-4017-8CC4-B27BF68AC204}" destId="{601331B3-DD0E-4741-B565-6285F9DD2879}" srcOrd="7" destOrd="0" presId="urn:microsoft.com/office/officeart/2005/8/layout/default"/>
    <dgm:cxn modelId="{7360901B-00BF-452E-90F4-C278C77097B4}" type="presParOf" srcId="{9CB47DE5-9C2E-4017-8CC4-B27BF68AC204}" destId="{C70D5F2F-885C-4E76-B88A-421CD8F48939}" srcOrd="8"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F71C1BF-83F3-4221-98C2-4E48AC94054E}"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GB"/>
        </a:p>
      </dgm:t>
    </dgm:pt>
    <dgm:pt modelId="{40480500-A4AD-4403-BD88-7F78D73FD3A3}">
      <dgm:prSet/>
      <dgm:spPr/>
      <dgm:t>
        <a:bodyPr/>
        <a:lstStyle/>
        <a:p>
          <a:r>
            <a:rPr lang="en-GB" dirty="0"/>
            <a:t>telehealth (</a:t>
          </a:r>
          <a:r>
            <a:rPr lang="en-GB" dirty="0" err="1"/>
            <a:t>ie</a:t>
          </a:r>
          <a:r>
            <a:rPr lang="en-GB" dirty="0"/>
            <a:t> web-based programmes, interactive digital interventions, wearables)</a:t>
          </a:r>
        </a:p>
      </dgm:t>
      <dgm:extLst>
        <a:ext uri="{E40237B7-FDA0-4F09-8148-C483321AD2D9}">
          <dgm14:cNvPr xmlns:dgm14="http://schemas.microsoft.com/office/drawing/2010/diagram" id="0" name="" descr="SmartArt with text:&#10;telehealth (ie web-based programmes, interactive digital interventions, wearables)"/>
        </a:ext>
      </dgm:extLst>
    </dgm:pt>
    <dgm:pt modelId="{E9412BE1-24FF-4D99-BA49-C57772B5BDBB}" type="parTrans" cxnId="{A32C78D7-6365-44A8-B286-0B27691688FC}">
      <dgm:prSet/>
      <dgm:spPr/>
      <dgm:t>
        <a:bodyPr/>
        <a:lstStyle/>
        <a:p>
          <a:endParaRPr lang="en-GB"/>
        </a:p>
      </dgm:t>
    </dgm:pt>
    <dgm:pt modelId="{8ACEE07D-3967-4F43-A34A-C18C5788D374}" type="sibTrans" cxnId="{A32C78D7-6365-44A8-B286-0B27691688FC}">
      <dgm:prSet/>
      <dgm:spPr/>
      <dgm:t>
        <a:bodyPr/>
        <a:lstStyle/>
        <a:p>
          <a:endParaRPr lang="en-GB"/>
        </a:p>
      </dgm:t>
    </dgm:pt>
    <dgm:pt modelId="{329D0B0B-1601-4658-97E7-224CD4E1170C}">
      <dgm:prSet/>
      <dgm:spPr/>
      <dgm:t>
        <a:bodyPr/>
        <a:lstStyle/>
        <a:p>
          <a:r>
            <a:rPr lang="en-GB" dirty="0"/>
            <a:t>can </a:t>
          </a:r>
          <a:r>
            <a:rPr lang="en-GB" b="1" dirty="0"/>
            <a:t>reduce hospital admissions </a:t>
          </a:r>
          <a:r>
            <a:rPr lang="en-GB" dirty="0"/>
            <a:t>by 4.1% and </a:t>
          </a:r>
          <a:r>
            <a:rPr lang="en-GB" b="1" dirty="0"/>
            <a:t>decrease BP </a:t>
          </a:r>
          <a:r>
            <a:rPr lang="en-GB" dirty="0"/>
            <a:t>by 3.74 mmHg (SBP) and 2.37 mmHg (DBP), approximately 3% and 3.4% respectively</a:t>
          </a:r>
        </a:p>
      </dgm:t>
      <dgm:extLst>
        <a:ext uri="{E40237B7-FDA0-4F09-8148-C483321AD2D9}">
          <dgm14:cNvPr xmlns:dgm14="http://schemas.microsoft.com/office/drawing/2010/diagram" id="0" name="" descr="SmartArt with text:&#13;&#10;- can reduce hospital admissions by 4.1% and decrease BP by 3.74 mmHg (SBP) and 2.37 mmHg (DBP), approximately 3% and 3.4% respectively&#13;&#10;- mobile phone-based intervention showed significant improvement in HbA1c levels&#13;&#10;- wearable insoles reduced diabetic foot ulcer occurrence by 86%"/>
        </a:ext>
      </dgm:extLst>
    </dgm:pt>
    <dgm:pt modelId="{9B95B0BD-1DAA-4A07-9993-CEE4CB6A69ED}" type="parTrans" cxnId="{59ED20A4-6ED2-4D7A-9667-8A817F9FE70F}">
      <dgm:prSet/>
      <dgm:spPr/>
      <dgm:t>
        <a:bodyPr/>
        <a:lstStyle/>
        <a:p>
          <a:endParaRPr lang="en-GB"/>
        </a:p>
      </dgm:t>
    </dgm:pt>
    <dgm:pt modelId="{F1AF8785-482E-4D45-9A19-180F8F42E8AB}" type="sibTrans" cxnId="{59ED20A4-6ED2-4D7A-9667-8A817F9FE70F}">
      <dgm:prSet/>
      <dgm:spPr/>
      <dgm:t>
        <a:bodyPr/>
        <a:lstStyle/>
        <a:p>
          <a:endParaRPr lang="en-GB"/>
        </a:p>
      </dgm:t>
    </dgm:pt>
    <dgm:pt modelId="{015B4E92-664E-4AA9-80EE-19A8BC798D71}">
      <dgm:prSet/>
      <dgm:spPr/>
      <dgm:t>
        <a:bodyPr/>
        <a:lstStyle/>
        <a:p>
          <a:r>
            <a:rPr lang="en-GB" dirty="0"/>
            <a:t>mobile phone-based intervention showed </a:t>
          </a:r>
          <a:r>
            <a:rPr lang="en-GB" b="1" dirty="0"/>
            <a:t>significant improvement </a:t>
          </a:r>
          <a:r>
            <a:rPr lang="en-GB" dirty="0"/>
            <a:t>in HbA1c levels</a:t>
          </a:r>
        </a:p>
      </dgm:t>
    </dgm:pt>
    <dgm:pt modelId="{7116EAA6-8B93-433E-BCCA-B65C0DFE69AB}" type="parTrans" cxnId="{6050BD34-F3EF-424B-AEA2-74493E968FBF}">
      <dgm:prSet/>
      <dgm:spPr/>
      <dgm:t>
        <a:bodyPr/>
        <a:lstStyle/>
        <a:p>
          <a:endParaRPr lang="en-GB"/>
        </a:p>
      </dgm:t>
    </dgm:pt>
    <dgm:pt modelId="{ACB525AF-FDBA-49FB-B483-8852787318E1}" type="sibTrans" cxnId="{6050BD34-F3EF-424B-AEA2-74493E968FBF}">
      <dgm:prSet/>
      <dgm:spPr/>
      <dgm:t>
        <a:bodyPr/>
        <a:lstStyle/>
        <a:p>
          <a:endParaRPr lang="en-GB"/>
        </a:p>
      </dgm:t>
    </dgm:pt>
    <dgm:pt modelId="{24509780-CE77-4ACD-AC94-1D91088D91EE}">
      <dgm:prSet/>
      <dgm:spPr/>
      <dgm:t>
        <a:bodyPr/>
        <a:lstStyle/>
        <a:p>
          <a:r>
            <a:rPr lang="en-GB" dirty="0"/>
            <a:t>wearable insoles </a:t>
          </a:r>
          <a:r>
            <a:rPr lang="en-GB" b="1" dirty="0"/>
            <a:t>reduced diabetic foot ulcer </a:t>
          </a:r>
          <a:r>
            <a:rPr lang="en-GB" dirty="0"/>
            <a:t>occurrence by 86%</a:t>
          </a:r>
        </a:p>
      </dgm:t>
    </dgm:pt>
    <dgm:pt modelId="{F66BD29A-C993-4084-B782-4F11E910F426}" type="parTrans" cxnId="{3AB6D8DA-7A37-413C-A350-0638708BD8D6}">
      <dgm:prSet/>
      <dgm:spPr/>
      <dgm:t>
        <a:bodyPr/>
        <a:lstStyle/>
        <a:p>
          <a:endParaRPr lang="en-GB"/>
        </a:p>
      </dgm:t>
    </dgm:pt>
    <dgm:pt modelId="{48344832-06CE-41B0-AE33-8827C126441E}" type="sibTrans" cxnId="{3AB6D8DA-7A37-413C-A350-0638708BD8D6}">
      <dgm:prSet/>
      <dgm:spPr/>
      <dgm:t>
        <a:bodyPr/>
        <a:lstStyle/>
        <a:p>
          <a:endParaRPr lang="en-GB"/>
        </a:p>
      </dgm:t>
    </dgm:pt>
    <dgm:pt modelId="{AFB615A4-5089-4DFF-8FA0-09043A16677F}">
      <dgm:prSet/>
      <dgm:spPr/>
      <dgm:t>
        <a:bodyPr/>
        <a:lstStyle/>
        <a:p>
          <a:r>
            <a:rPr lang="en-GB" dirty="0"/>
            <a:t>education-based (</a:t>
          </a:r>
          <a:r>
            <a:rPr lang="en-GB" dirty="0" err="1"/>
            <a:t>ie</a:t>
          </a:r>
          <a:r>
            <a:rPr lang="en-GB" dirty="0"/>
            <a:t> cognitive reframing, behaviour change)</a:t>
          </a:r>
        </a:p>
      </dgm:t>
      <dgm:extLst>
        <a:ext uri="{E40237B7-FDA0-4F09-8148-C483321AD2D9}">
          <dgm14:cNvPr xmlns:dgm14="http://schemas.microsoft.com/office/drawing/2010/diagram" id="0" name="" descr="SmartArt with text:&#13;&#10;education-based (ie cognitive reframing, behaviour change)"/>
        </a:ext>
      </dgm:extLst>
    </dgm:pt>
    <dgm:pt modelId="{96A4A3ED-C150-4C9B-ADEF-93E4CA5898D7}" type="parTrans" cxnId="{6593F6F9-5201-4A44-9D1F-7CA46CD5B427}">
      <dgm:prSet/>
      <dgm:spPr/>
      <dgm:t>
        <a:bodyPr/>
        <a:lstStyle/>
        <a:p>
          <a:endParaRPr lang="en-GB"/>
        </a:p>
      </dgm:t>
    </dgm:pt>
    <dgm:pt modelId="{715C177D-F958-4216-BF32-3C786C3389A9}" type="sibTrans" cxnId="{6593F6F9-5201-4A44-9D1F-7CA46CD5B427}">
      <dgm:prSet/>
      <dgm:spPr/>
      <dgm:t>
        <a:bodyPr/>
        <a:lstStyle/>
        <a:p>
          <a:endParaRPr lang="en-GB"/>
        </a:p>
      </dgm:t>
    </dgm:pt>
    <dgm:pt modelId="{27534154-1084-4C61-9043-7D1D4C1461AD}">
      <dgm:prSet/>
      <dgm:spPr/>
      <dgm:t>
        <a:bodyPr/>
        <a:lstStyle/>
        <a:p>
          <a:r>
            <a:rPr lang="en-GB" dirty="0"/>
            <a:t>patient education showed </a:t>
          </a:r>
          <a:r>
            <a:rPr lang="en-GB" b="1" dirty="0"/>
            <a:t>a statistically significant reduction </a:t>
          </a:r>
          <a:r>
            <a:rPr lang="en-GB" dirty="0"/>
            <a:t>in fasting blood glucose, and HbA1c</a:t>
          </a:r>
        </a:p>
      </dgm:t>
      <dgm:extLst>
        <a:ext uri="{E40237B7-FDA0-4F09-8148-C483321AD2D9}">
          <dgm14:cNvPr xmlns:dgm14="http://schemas.microsoft.com/office/drawing/2010/diagram" id="0" name="" descr="SmartArt with text:&#13;&#10;- patient education showed a statistically significant reduction in fasting blood glucose, and HbA1c&#13;&#10;- patient empowerment reduced glycated haemoglobin and increased diabetes empowerment and knowledge scores"/>
        </a:ext>
      </dgm:extLst>
    </dgm:pt>
    <dgm:pt modelId="{038291B8-46BC-48E4-A991-CAFBF9D56306}" type="parTrans" cxnId="{5BE4BEA4-7F5D-4FB9-930B-F38A15238B76}">
      <dgm:prSet/>
      <dgm:spPr/>
      <dgm:t>
        <a:bodyPr/>
        <a:lstStyle/>
        <a:p>
          <a:endParaRPr lang="en-GB"/>
        </a:p>
      </dgm:t>
    </dgm:pt>
    <dgm:pt modelId="{16395356-7E4D-4172-8712-89DCE6398853}" type="sibTrans" cxnId="{5BE4BEA4-7F5D-4FB9-930B-F38A15238B76}">
      <dgm:prSet/>
      <dgm:spPr/>
      <dgm:t>
        <a:bodyPr/>
        <a:lstStyle/>
        <a:p>
          <a:endParaRPr lang="en-GB"/>
        </a:p>
      </dgm:t>
    </dgm:pt>
    <dgm:pt modelId="{BD98B73D-8AEE-46A8-9FE9-5DE26A51BEA9}">
      <dgm:prSet/>
      <dgm:spPr/>
      <dgm:t>
        <a:bodyPr/>
        <a:lstStyle/>
        <a:p>
          <a:r>
            <a:rPr lang="en-GB" dirty="0"/>
            <a:t>patient empowerment </a:t>
          </a:r>
          <a:r>
            <a:rPr lang="en-GB" b="1" dirty="0"/>
            <a:t>reduced glycated haemoglobin </a:t>
          </a:r>
          <a:r>
            <a:rPr lang="en-GB" dirty="0"/>
            <a:t>and </a:t>
          </a:r>
          <a:r>
            <a:rPr lang="en-GB" b="1" dirty="0"/>
            <a:t>increased diabetes empowerment and knowledge </a:t>
          </a:r>
          <a:r>
            <a:rPr lang="en-GB" dirty="0"/>
            <a:t>scores</a:t>
          </a:r>
        </a:p>
      </dgm:t>
    </dgm:pt>
    <dgm:pt modelId="{53202DCB-4D70-4523-895D-31C7A6822F25}" type="parTrans" cxnId="{15D248BC-13C9-44EC-ACA5-EBB6DF5A7E63}">
      <dgm:prSet/>
      <dgm:spPr/>
      <dgm:t>
        <a:bodyPr/>
        <a:lstStyle/>
        <a:p>
          <a:endParaRPr lang="en-GB"/>
        </a:p>
      </dgm:t>
    </dgm:pt>
    <dgm:pt modelId="{7BDD270B-7D7E-491C-AEAC-51640D2F1093}" type="sibTrans" cxnId="{15D248BC-13C9-44EC-ACA5-EBB6DF5A7E63}">
      <dgm:prSet/>
      <dgm:spPr/>
      <dgm:t>
        <a:bodyPr/>
        <a:lstStyle/>
        <a:p>
          <a:endParaRPr lang="en-GB"/>
        </a:p>
      </dgm:t>
    </dgm:pt>
    <dgm:pt modelId="{CE84EF8D-2FED-4E6D-9F5C-E029CDBC11ED}">
      <dgm:prSet/>
      <dgm:spPr/>
      <dgm:t>
        <a:bodyPr/>
        <a:lstStyle/>
        <a:p>
          <a:r>
            <a:rPr lang="en-GB" dirty="0"/>
            <a:t>decision/ peer support (</a:t>
          </a:r>
          <a:r>
            <a:rPr lang="en-GB" dirty="0" err="1"/>
            <a:t>ie</a:t>
          </a:r>
          <a:r>
            <a:rPr lang="en-GB" dirty="0"/>
            <a:t> trained peer education, social media-based interventions)</a:t>
          </a:r>
        </a:p>
      </dgm:t>
      <dgm:extLst>
        <a:ext uri="{E40237B7-FDA0-4F09-8148-C483321AD2D9}">
          <dgm14:cNvPr xmlns:dgm14="http://schemas.microsoft.com/office/drawing/2010/diagram" id="0" name="" descr="SmartArt with text:&#13;&#10;decision/ peer support (ie trained peer education, social media-based interventions)"/>
        </a:ext>
      </dgm:extLst>
    </dgm:pt>
    <dgm:pt modelId="{944CA9F4-F63B-4974-B6C5-D334B949F327}" type="parTrans" cxnId="{31E87A45-C2AB-4DEF-B7AE-ED0D2A2DF5D7}">
      <dgm:prSet/>
      <dgm:spPr/>
      <dgm:t>
        <a:bodyPr/>
        <a:lstStyle/>
        <a:p>
          <a:endParaRPr lang="en-GB"/>
        </a:p>
      </dgm:t>
    </dgm:pt>
    <dgm:pt modelId="{59570A56-AAB0-4936-9911-22F245CDD088}" type="sibTrans" cxnId="{31E87A45-C2AB-4DEF-B7AE-ED0D2A2DF5D7}">
      <dgm:prSet/>
      <dgm:spPr/>
      <dgm:t>
        <a:bodyPr/>
        <a:lstStyle/>
        <a:p>
          <a:endParaRPr lang="en-GB"/>
        </a:p>
      </dgm:t>
    </dgm:pt>
    <dgm:pt modelId="{91911DE2-F537-4D51-9411-34A6F511E3A6}">
      <dgm:prSet/>
      <dgm:spPr/>
      <dgm:t>
        <a:bodyPr/>
        <a:lstStyle/>
        <a:p>
          <a:r>
            <a:rPr lang="en-GB" b="1" dirty="0"/>
            <a:t>pooled mean difference </a:t>
          </a:r>
          <a:r>
            <a:rPr lang="en-GB" dirty="0"/>
            <a:t>of 0.57% for HbA1c</a:t>
          </a:r>
        </a:p>
      </dgm:t>
      <dgm:extLst>
        <a:ext uri="{E40237B7-FDA0-4F09-8148-C483321AD2D9}">
          <dgm14:cNvPr xmlns:dgm14="http://schemas.microsoft.com/office/drawing/2010/diagram" id="0" name="" descr="SmartArt with text:&#13;&#10;- pooled mean difference of 0.57% for HbA1c&#13;&#10;- interactive digital interventions show reduced SBP and better self-efficacy&#13;&#10;- patient education programmes produced a reduction in HbA1c"/>
        </a:ext>
      </dgm:extLst>
    </dgm:pt>
    <dgm:pt modelId="{CAF3D4CA-1B32-47B9-97F5-4CE76248B584}" type="parTrans" cxnId="{DDCA8F75-C0E9-4E6B-B81B-0D7C1AB5521B}">
      <dgm:prSet/>
      <dgm:spPr/>
      <dgm:t>
        <a:bodyPr/>
        <a:lstStyle/>
        <a:p>
          <a:endParaRPr lang="en-GB"/>
        </a:p>
      </dgm:t>
    </dgm:pt>
    <dgm:pt modelId="{E5007E11-4B00-410D-85C3-FFB8C467B098}" type="sibTrans" cxnId="{DDCA8F75-C0E9-4E6B-B81B-0D7C1AB5521B}">
      <dgm:prSet/>
      <dgm:spPr/>
      <dgm:t>
        <a:bodyPr/>
        <a:lstStyle/>
        <a:p>
          <a:endParaRPr lang="en-GB"/>
        </a:p>
      </dgm:t>
    </dgm:pt>
    <dgm:pt modelId="{2A266154-0942-4C46-940B-7F18390BAE16}">
      <dgm:prSet/>
      <dgm:spPr/>
      <dgm:t>
        <a:bodyPr/>
        <a:lstStyle/>
        <a:p>
          <a:r>
            <a:rPr lang="en-GB" dirty="0"/>
            <a:t>interactive digital interventions show </a:t>
          </a:r>
          <a:r>
            <a:rPr lang="en-GB" b="1" dirty="0"/>
            <a:t>reduced SBP </a:t>
          </a:r>
          <a:r>
            <a:rPr lang="en-GB" dirty="0"/>
            <a:t>and </a:t>
          </a:r>
          <a:r>
            <a:rPr lang="en-GB" b="1" dirty="0"/>
            <a:t>better self-efficacy</a:t>
          </a:r>
        </a:p>
      </dgm:t>
    </dgm:pt>
    <dgm:pt modelId="{F797A493-796C-44F5-BFA4-6ECE1EEF39E7}" type="parTrans" cxnId="{4F149A2E-5918-48D8-887D-84B3199F39C0}">
      <dgm:prSet/>
      <dgm:spPr/>
      <dgm:t>
        <a:bodyPr/>
        <a:lstStyle/>
        <a:p>
          <a:endParaRPr lang="en-GB"/>
        </a:p>
      </dgm:t>
    </dgm:pt>
    <dgm:pt modelId="{74D78BF9-DD6E-4FE4-B294-84983C70897A}" type="sibTrans" cxnId="{4F149A2E-5918-48D8-887D-84B3199F39C0}">
      <dgm:prSet/>
      <dgm:spPr/>
      <dgm:t>
        <a:bodyPr/>
        <a:lstStyle/>
        <a:p>
          <a:endParaRPr lang="en-GB"/>
        </a:p>
      </dgm:t>
    </dgm:pt>
    <dgm:pt modelId="{27F87948-A57D-496A-9466-06A7FDF79B89}">
      <dgm:prSet/>
      <dgm:spPr/>
      <dgm:t>
        <a:bodyPr/>
        <a:lstStyle/>
        <a:p>
          <a:r>
            <a:rPr lang="en-GB" dirty="0"/>
            <a:t>patient education programmes produced a </a:t>
          </a:r>
          <a:r>
            <a:rPr lang="en-GB" b="1" dirty="0"/>
            <a:t>reduction in HbA1c</a:t>
          </a:r>
        </a:p>
      </dgm:t>
    </dgm:pt>
    <dgm:pt modelId="{A5C68E96-5585-4E32-8A35-087ED62F1B4B}" type="parTrans" cxnId="{89751FE0-ED93-4FFC-B96D-950AA96F4261}">
      <dgm:prSet/>
      <dgm:spPr/>
      <dgm:t>
        <a:bodyPr/>
        <a:lstStyle/>
        <a:p>
          <a:endParaRPr lang="en-GB"/>
        </a:p>
      </dgm:t>
    </dgm:pt>
    <dgm:pt modelId="{CCC98793-71D2-40F9-A6E7-520EF33570F8}" type="sibTrans" cxnId="{89751FE0-ED93-4FFC-B96D-950AA96F4261}">
      <dgm:prSet/>
      <dgm:spPr/>
      <dgm:t>
        <a:bodyPr/>
        <a:lstStyle/>
        <a:p>
          <a:endParaRPr lang="en-GB"/>
        </a:p>
      </dgm:t>
    </dgm:pt>
    <dgm:pt modelId="{0DCD3BB8-30F8-45B8-9B09-5D9E68858B0B}" type="pres">
      <dgm:prSet presAssocID="{BF71C1BF-83F3-4221-98C2-4E48AC94054E}" presName="Name0" presStyleCnt="0">
        <dgm:presLayoutVars>
          <dgm:dir/>
          <dgm:animLvl val="lvl"/>
          <dgm:resizeHandles val="exact"/>
        </dgm:presLayoutVars>
      </dgm:prSet>
      <dgm:spPr/>
    </dgm:pt>
    <dgm:pt modelId="{FE00C62E-4057-4D52-9F6A-5FCFDFD877A2}" type="pres">
      <dgm:prSet presAssocID="{40480500-A4AD-4403-BD88-7F78D73FD3A3}" presName="linNode" presStyleCnt="0"/>
      <dgm:spPr/>
    </dgm:pt>
    <dgm:pt modelId="{A011FDEE-6A1B-4EAA-8FA0-C5104FCC9DE0}" type="pres">
      <dgm:prSet presAssocID="{40480500-A4AD-4403-BD88-7F78D73FD3A3}" presName="parentText" presStyleLbl="node1" presStyleIdx="0" presStyleCnt="3">
        <dgm:presLayoutVars>
          <dgm:chMax val="1"/>
          <dgm:bulletEnabled val="1"/>
        </dgm:presLayoutVars>
      </dgm:prSet>
      <dgm:spPr/>
    </dgm:pt>
    <dgm:pt modelId="{63BE0FD8-74BD-49BF-85AB-D288D5F9964C}" type="pres">
      <dgm:prSet presAssocID="{40480500-A4AD-4403-BD88-7F78D73FD3A3}" presName="descendantText" presStyleLbl="alignAccFollowNode1" presStyleIdx="0" presStyleCnt="3">
        <dgm:presLayoutVars>
          <dgm:bulletEnabled val="1"/>
        </dgm:presLayoutVars>
      </dgm:prSet>
      <dgm:spPr/>
    </dgm:pt>
    <dgm:pt modelId="{76A4A9E8-FB5F-4612-8D02-E7B6B065FE2C}" type="pres">
      <dgm:prSet presAssocID="{8ACEE07D-3967-4F43-A34A-C18C5788D374}" presName="sp" presStyleCnt="0"/>
      <dgm:spPr/>
    </dgm:pt>
    <dgm:pt modelId="{7869F6E5-8263-452D-9EEA-A9D25651A908}" type="pres">
      <dgm:prSet presAssocID="{AFB615A4-5089-4DFF-8FA0-09043A16677F}" presName="linNode" presStyleCnt="0"/>
      <dgm:spPr/>
    </dgm:pt>
    <dgm:pt modelId="{F8113C40-831C-4A8E-88BC-8B443B2F9CBB}" type="pres">
      <dgm:prSet presAssocID="{AFB615A4-5089-4DFF-8FA0-09043A16677F}" presName="parentText" presStyleLbl="node1" presStyleIdx="1" presStyleCnt="3">
        <dgm:presLayoutVars>
          <dgm:chMax val="1"/>
          <dgm:bulletEnabled val="1"/>
        </dgm:presLayoutVars>
      </dgm:prSet>
      <dgm:spPr/>
    </dgm:pt>
    <dgm:pt modelId="{1B242AF7-1E26-4A75-8BFA-EB6B51818140}" type="pres">
      <dgm:prSet presAssocID="{AFB615A4-5089-4DFF-8FA0-09043A16677F}" presName="descendantText" presStyleLbl="alignAccFollowNode1" presStyleIdx="1" presStyleCnt="3">
        <dgm:presLayoutVars>
          <dgm:bulletEnabled val="1"/>
        </dgm:presLayoutVars>
      </dgm:prSet>
      <dgm:spPr/>
    </dgm:pt>
    <dgm:pt modelId="{3B2BC89A-2F80-46AE-912E-834075355D0D}" type="pres">
      <dgm:prSet presAssocID="{715C177D-F958-4216-BF32-3C786C3389A9}" presName="sp" presStyleCnt="0"/>
      <dgm:spPr/>
    </dgm:pt>
    <dgm:pt modelId="{7D8EB927-9E87-45E0-A58E-65CACD230A4A}" type="pres">
      <dgm:prSet presAssocID="{CE84EF8D-2FED-4E6D-9F5C-E029CDBC11ED}" presName="linNode" presStyleCnt="0"/>
      <dgm:spPr/>
    </dgm:pt>
    <dgm:pt modelId="{6B9D0282-44D5-4C00-860C-96601F3D9215}" type="pres">
      <dgm:prSet presAssocID="{CE84EF8D-2FED-4E6D-9F5C-E029CDBC11ED}" presName="parentText" presStyleLbl="node1" presStyleIdx="2" presStyleCnt="3">
        <dgm:presLayoutVars>
          <dgm:chMax val="1"/>
          <dgm:bulletEnabled val="1"/>
        </dgm:presLayoutVars>
      </dgm:prSet>
      <dgm:spPr/>
    </dgm:pt>
    <dgm:pt modelId="{88670614-3C18-4072-8817-7C13647FC110}" type="pres">
      <dgm:prSet presAssocID="{CE84EF8D-2FED-4E6D-9F5C-E029CDBC11ED}" presName="descendantText" presStyleLbl="alignAccFollowNode1" presStyleIdx="2" presStyleCnt="3">
        <dgm:presLayoutVars>
          <dgm:bulletEnabled val="1"/>
        </dgm:presLayoutVars>
      </dgm:prSet>
      <dgm:spPr/>
    </dgm:pt>
  </dgm:ptLst>
  <dgm:cxnLst>
    <dgm:cxn modelId="{5A922E01-493D-41AE-B847-A91E84679056}" type="presOf" srcId="{015B4E92-664E-4AA9-80EE-19A8BC798D71}" destId="{63BE0FD8-74BD-49BF-85AB-D288D5F9964C}" srcOrd="0" destOrd="1" presId="urn:microsoft.com/office/officeart/2005/8/layout/vList5"/>
    <dgm:cxn modelId="{00A9A50E-4867-4F84-9C3B-A4A7ABED21A3}" type="presOf" srcId="{BD98B73D-8AEE-46A8-9FE9-5DE26A51BEA9}" destId="{1B242AF7-1E26-4A75-8BFA-EB6B51818140}" srcOrd="0" destOrd="1" presId="urn:microsoft.com/office/officeart/2005/8/layout/vList5"/>
    <dgm:cxn modelId="{F43D9114-9C6B-4B72-8832-9ABE7BCFC6A5}" type="presOf" srcId="{27534154-1084-4C61-9043-7D1D4C1461AD}" destId="{1B242AF7-1E26-4A75-8BFA-EB6B51818140}" srcOrd="0" destOrd="0" presId="urn:microsoft.com/office/officeart/2005/8/layout/vList5"/>
    <dgm:cxn modelId="{CE31601C-3627-4BE5-B179-C01A638602B9}" type="presOf" srcId="{27F87948-A57D-496A-9466-06A7FDF79B89}" destId="{88670614-3C18-4072-8817-7C13647FC110}" srcOrd="0" destOrd="2" presId="urn:microsoft.com/office/officeart/2005/8/layout/vList5"/>
    <dgm:cxn modelId="{4F149A2E-5918-48D8-887D-84B3199F39C0}" srcId="{CE84EF8D-2FED-4E6D-9F5C-E029CDBC11ED}" destId="{2A266154-0942-4C46-940B-7F18390BAE16}" srcOrd="1" destOrd="0" parTransId="{F797A493-796C-44F5-BFA4-6ECE1EEF39E7}" sibTransId="{74D78BF9-DD6E-4FE4-B294-84983C70897A}"/>
    <dgm:cxn modelId="{31F6F333-B963-47EE-A6F1-7EEEB737AB9C}" type="presOf" srcId="{40480500-A4AD-4403-BD88-7F78D73FD3A3}" destId="{A011FDEE-6A1B-4EAA-8FA0-C5104FCC9DE0}" srcOrd="0" destOrd="0" presId="urn:microsoft.com/office/officeart/2005/8/layout/vList5"/>
    <dgm:cxn modelId="{6050BD34-F3EF-424B-AEA2-74493E968FBF}" srcId="{40480500-A4AD-4403-BD88-7F78D73FD3A3}" destId="{015B4E92-664E-4AA9-80EE-19A8BC798D71}" srcOrd="1" destOrd="0" parTransId="{7116EAA6-8B93-433E-BCCA-B65C0DFE69AB}" sibTransId="{ACB525AF-FDBA-49FB-B483-8852787318E1}"/>
    <dgm:cxn modelId="{31E87A45-C2AB-4DEF-B7AE-ED0D2A2DF5D7}" srcId="{BF71C1BF-83F3-4221-98C2-4E48AC94054E}" destId="{CE84EF8D-2FED-4E6D-9F5C-E029CDBC11ED}" srcOrd="2" destOrd="0" parTransId="{944CA9F4-F63B-4974-B6C5-D334B949F327}" sibTransId="{59570A56-AAB0-4936-9911-22F245CDD088}"/>
    <dgm:cxn modelId="{DDCA8F75-C0E9-4E6B-B81B-0D7C1AB5521B}" srcId="{CE84EF8D-2FED-4E6D-9F5C-E029CDBC11ED}" destId="{91911DE2-F537-4D51-9411-34A6F511E3A6}" srcOrd="0" destOrd="0" parTransId="{CAF3D4CA-1B32-47B9-97F5-4CE76248B584}" sibTransId="{E5007E11-4B00-410D-85C3-FFB8C467B098}"/>
    <dgm:cxn modelId="{2A31DE86-0084-46D7-8E5D-00AB25B8224E}" type="presOf" srcId="{24509780-CE77-4ACD-AC94-1D91088D91EE}" destId="{63BE0FD8-74BD-49BF-85AB-D288D5F9964C}" srcOrd="0" destOrd="2" presId="urn:microsoft.com/office/officeart/2005/8/layout/vList5"/>
    <dgm:cxn modelId="{E51F818C-98D2-4A97-A84B-63D46ADD9A66}" type="presOf" srcId="{CE84EF8D-2FED-4E6D-9F5C-E029CDBC11ED}" destId="{6B9D0282-44D5-4C00-860C-96601F3D9215}" srcOrd="0" destOrd="0" presId="urn:microsoft.com/office/officeart/2005/8/layout/vList5"/>
    <dgm:cxn modelId="{ADBBBB8F-27AF-44A9-8225-7AF22C567812}" type="presOf" srcId="{91911DE2-F537-4D51-9411-34A6F511E3A6}" destId="{88670614-3C18-4072-8817-7C13647FC110}" srcOrd="0" destOrd="0" presId="urn:microsoft.com/office/officeart/2005/8/layout/vList5"/>
    <dgm:cxn modelId="{59ED20A4-6ED2-4D7A-9667-8A817F9FE70F}" srcId="{40480500-A4AD-4403-BD88-7F78D73FD3A3}" destId="{329D0B0B-1601-4658-97E7-224CD4E1170C}" srcOrd="0" destOrd="0" parTransId="{9B95B0BD-1DAA-4A07-9993-CEE4CB6A69ED}" sibTransId="{F1AF8785-482E-4D45-9A19-180F8F42E8AB}"/>
    <dgm:cxn modelId="{070C40A4-C556-4853-B269-50FDA6896009}" type="presOf" srcId="{AFB615A4-5089-4DFF-8FA0-09043A16677F}" destId="{F8113C40-831C-4A8E-88BC-8B443B2F9CBB}" srcOrd="0" destOrd="0" presId="urn:microsoft.com/office/officeart/2005/8/layout/vList5"/>
    <dgm:cxn modelId="{5BE4BEA4-7F5D-4FB9-930B-F38A15238B76}" srcId="{AFB615A4-5089-4DFF-8FA0-09043A16677F}" destId="{27534154-1084-4C61-9043-7D1D4C1461AD}" srcOrd="0" destOrd="0" parTransId="{038291B8-46BC-48E4-A991-CAFBF9D56306}" sibTransId="{16395356-7E4D-4172-8712-89DCE6398853}"/>
    <dgm:cxn modelId="{EB42BDBB-1022-4E5F-BD15-1BE3D70C8A47}" type="presOf" srcId="{2A266154-0942-4C46-940B-7F18390BAE16}" destId="{88670614-3C18-4072-8817-7C13647FC110}" srcOrd="0" destOrd="1" presId="urn:microsoft.com/office/officeart/2005/8/layout/vList5"/>
    <dgm:cxn modelId="{15D248BC-13C9-44EC-ACA5-EBB6DF5A7E63}" srcId="{AFB615A4-5089-4DFF-8FA0-09043A16677F}" destId="{BD98B73D-8AEE-46A8-9FE9-5DE26A51BEA9}" srcOrd="1" destOrd="0" parTransId="{53202DCB-4D70-4523-895D-31C7A6822F25}" sibTransId="{7BDD270B-7D7E-491C-AEAC-51640D2F1093}"/>
    <dgm:cxn modelId="{A32C78D7-6365-44A8-B286-0B27691688FC}" srcId="{BF71C1BF-83F3-4221-98C2-4E48AC94054E}" destId="{40480500-A4AD-4403-BD88-7F78D73FD3A3}" srcOrd="0" destOrd="0" parTransId="{E9412BE1-24FF-4D99-BA49-C57772B5BDBB}" sibTransId="{8ACEE07D-3967-4F43-A34A-C18C5788D374}"/>
    <dgm:cxn modelId="{3AB6D8DA-7A37-413C-A350-0638708BD8D6}" srcId="{40480500-A4AD-4403-BD88-7F78D73FD3A3}" destId="{24509780-CE77-4ACD-AC94-1D91088D91EE}" srcOrd="2" destOrd="0" parTransId="{F66BD29A-C993-4084-B782-4F11E910F426}" sibTransId="{48344832-06CE-41B0-AE33-8827C126441E}"/>
    <dgm:cxn modelId="{89751FE0-ED93-4FFC-B96D-950AA96F4261}" srcId="{CE84EF8D-2FED-4E6D-9F5C-E029CDBC11ED}" destId="{27F87948-A57D-496A-9466-06A7FDF79B89}" srcOrd="2" destOrd="0" parTransId="{A5C68E96-5585-4E32-8A35-087ED62F1B4B}" sibTransId="{CCC98793-71D2-40F9-A6E7-520EF33570F8}"/>
    <dgm:cxn modelId="{D53C85F9-DDB6-4670-B5A7-E263F014EE3A}" type="presOf" srcId="{BF71C1BF-83F3-4221-98C2-4E48AC94054E}" destId="{0DCD3BB8-30F8-45B8-9B09-5D9E68858B0B}" srcOrd="0" destOrd="0" presId="urn:microsoft.com/office/officeart/2005/8/layout/vList5"/>
    <dgm:cxn modelId="{6593F6F9-5201-4A44-9D1F-7CA46CD5B427}" srcId="{BF71C1BF-83F3-4221-98C2-4E48AC94054E}" destId="{AFB615A4-5089-4DFF-8FA0-09043A16677F}" srcOrd="1" destOrd="0" parTransId="{96A4A3ED-C150-4C9B-ADEF-93E4CA5898D7}" sibTransId="{715C177D-F958-4216-BF32-3C786C3389A9}"/>
    <dgm:cxn modelId="{1ABF46FA-E220-4E67-85D7-373286123EC7}" type="presOf" srcId="{329D0B0B-1601-4658-97E7-224CD4E1170C}" destId="{63BE0FD8-74BD-49BF-85AB-D288D5F9964C}" srcOrd="0" destOrd="0" presId="urn:microsoft.com/office/officeart/2005/8/layout/vList5"/>
    <dgm:cxn modelId="{F0975055-19D6-48E0-9D71-2FA5945DB505}" type="presParOf" srcId="{0DCD3BB8-30F8-45B8-9B09-5D9E68858B0B}" destId="{FE00C62E-4057-4D52-9F6A-5FCFDFD877A2}" srcOrd="0" destOrd="0" presId="urn:microsoft.com/office/officeart/2005/8/layout/vList5"/>
    <dgm:cxn modelId="{0E606D26-8F91-4D0F-B266-44C0B086E9BA}" type="presParOf" srcId="{FE00C62E-4057-4D52-9F6A-5FCFDFD877A2}" destId="{A011FDEE-6A1B-4EAA-8FA0-C5104FCC9DE0}" srcOrd="0" destOrd="0" presId="urn:microsoft.com/office/officeart/2005/8/layout/vList5"/>
    <dgm:cxn modelId="{C91423FE-C5D4-4D4B-AFB3-E42D4C53C98B}" type="presParOf" srcId="{FE00C62E-4057-4D52-9F6A-5FCFDFD877A2}" destId="{63BE0FD8-74BD-49BF-85AB-D288D5F9964C}" srcOrd="1" destOrd="0" presId="urn:microsoft.com/office/officeart/2005/8/layout/vList5"/>
    <dgm:cxn modelId="{06C5F6A1-045F-473C-98C2-F2EEE66AA10B}" type="presParOf" srcId="{0DCD3BB8-30F8-45B8-9B09-5D9E68858B0B}" destId="{76A4A9E8-FB5F-4612-8D02-E7B6B065FE2C}" srcOrd="1" destOrd="0" presId="urn:microsoft.com/office/officeart/2005/8/layout/vList5"/>
    <dgm:cxn modelId="{C48EDB0D-F8D2-4482-AC1B-23BBBBEFD89B}" type="presParOf" srcId="{0DCD3BB8-30F8-45B8-9B09-5D9E68858B0B}" destId="{7869F6E5-8263-452D-9EEA-A9D25651A908}" srcOrd="2" destOrd="0" presId="urn:microsoft.com/office/officeart/2005/8/layout/vList5"/>
    <dgm:cxn modelId="{A6C62A59-4443-4CD2-96DF-3523D44D40D7}" type="presParOf" srcId="{7869F6E5-8263-452D-9EEA-A9D25651A908}" destId="{F8113C40-831C-4A8E-88BC-8B443B2F9CBB}" srcOrd="0" destOrd="0" presId="urn:microsoft.com/office/officeart/2005/8/layout/vList5"/>
    <dgm:cxn modelId="{C8022F12-F7F4-4539-B560-AE521F10A18C}" type="presParOf" srcId="{7869F6E5-8263-452D-9EEA-A9D25651A908}" destId="{1B242AF7-1E26-4A75-8BFA-EB6B51818140}" srcOrd="1" destOrd="0" presId="urn:microsoft.com/office/officeart/2005/8/layout/vList5"/>
    <dgm:cxn modelId="{A9A16528-D3F8-41C1-889A-6E82605AA739}" type="presParOf" srcId="{0DCD3BB8-30F8-45B8-9B09-5D9E68858B0B}" destId="{3B2BC89A-2F80-46AE-912E-834075355D0D}" srcOrd="3" destOrd="0" presId="urn:microsoft.com/office/officeart/2005/8/layout/vList5"/>
    <dgm:cxn modelId="{CC9E99E4-0DC1-4792-A471-6D60E86BE6B6}" type="presParOf" srcId="{0DCD3BB8-30F8-45B8-9B09-5D9E68858B0B}" destId="{7D8EB927-9E87-45E0-A58E-65CACD230A4A}" srcOrd="4" destOrd="0" presId="urn:microsoft.com/office/officeart/2005/8/layout/vList5"/>
    <dgm:cxn modelId="{7B394497-2756-4F0F-BDDF-1BE517B63F2A}" type="presParOf" srcId="{7D8EB927-9E87-45E0-A58E-65CACD230A4A}" destId="{6B9D0282-44D5-4C00-860C-96601F3D9215}" srcOrd="0" destOrd="0" presId="urn:microsoft.com/office/officeart/2005/8/layout/vList5"/>
    <dgm:cxn modelId="{52AF117D-20F1-4435-AC0C-8CCBA3B701F6}" type="presParOf" srcId="{7D8EB927-9E87-45E0-A58E-65CACD230A4A}" destId="{88670614-3C18-4072-8817-7C13647FC110}"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1461DA41-AA40-46DA-BA03-6EDCCA655C00}" type="doc">
      <dgm:prSet loTypeId="urn:microsoft.com/office/officeart/2005/8/layout/vList6" loCatId="list" qsTypeId="urn:microsoft.com/office/officeart/2005/8/quickstyle/simple1" qsCatId="simple" csTypeId="urn:microsoft.com/office/officeart/2005/8/colors/accent1_2" csCatId="accent1" phldr="1"/>
      <dgm:spPr/>
      <dgm:t>
        <a:bodyPr/>
        <a:lstStyle/>
        <a:p>
          <a:endParaRPr lang="en-GB"/>
        </a:p>
      </dgm:t>
    </dgm:pt>
    <dgm:pt modelId="{84951175-9841-4FE2-8682-782939C7CC7A}">
      <dgm:prSet/>
      <dgm:spPr/>
      <dgm:t>
        <a:bodyPr/>
        <a:lstStyle/>
        <a:p>
          <a:r>
            <a:rPr lang="en-GB" dirty="0"/>
            <a:t>wearables</a:t>
          </a:r>
        </a:p>
      </dgm:t>
      <dgm:extLst>
        <a:ext uri="{E40237B7-FDA0-4F09-8148-C483321AD2D9}">
          <dgm14:cNvPr xmlns:dgm14="http://schemas.microsoft.com/office/drawing/2010/diagram" id="0" name="" descr="SmartArt with text:&#10;wearables"/>
        </a:ext>
      </dgm:extLst>
    </dgm:pt>
    <dgm:pt modelId="{FE41460E-3376-4D80-AFC2-DB603B00B33E}" type="parTrans" cxnId="{A5BB2FAB-A3BB-4FCA-89A5-791EF1DE5785}">
      <dgm:prSet/>
      <dgm:spPr/>
      <dgm:t>
        <a:bodyPr/>
        <a:lstStyle/>
        <a:p>
          <a:endParaRPr lang="en-GB"/>
        </a:p>
      </dgm:t>
    </dgm:pt>
    <dgm:pt modelId="{B0022D99-3662-4DF2-82F3-B6E8FA36DAD2}" type="sibTrans" cxnId="{A5BB2FAB-A3BB-4FCA-89A5-791EF1DE5785}">
      <dgm:prSet/>
      <dgm:spPr/>
      <dgm:t>
        <a:bodyPr/>
        <a:lstStyle/>
        <a:p>
          <a:endParaRPr lang="en-GB"/>
        </a:p>
      </dgm:t>
    </dgm:pt>
    <dgm:pt modelId="{5F2D8092-E4A9-4218-A75F-8A7C3AB74788}">
      <dgm:prSet/>
      <dgm:spPr/>
      <dgm:t>
        <a:bodyPr/>
        <a:lstStyle/>
        <a:p>
          <a:r>
            <a:rPr lang="en-GB" dirty="0"/>
            <a:t>includes pedometers, smartwatches and intelligent insoles</a:t>
          </a:r>
        </a:p>
      </dgm:t>
      <dgm:extLst>
        <a:ext uri="{E40237B7-FDA0-4F09-8148-C483321AD2D9}">
          <dgm14:cNvPr xmlns:dgm14="http://schemas.microsoft.com/office/drawing/2010/diagram" id="0" name="" descr="SmartArt with text:&#10;wearables&#13;&#10;- includes pedometers, smartwatches and intelligent insoles&#13;&#10;- evidence mixed save for Omron pedometer, which was associated with improved functional capacity in inflammatory arthritis"/>
        </a:ext>
      </dgm:extLst>
    </dgm:pt>
    <dgm:pt modelId="{2DE15C04-D8E8-440C-BA50-30D4952D372F}" type="parTrans" cxnId="{EF6342CB-A36C-44F4-B30D-F8A9C7AC67FE}">
      <dgm:prSet/>
      <dgm:spPr/>
      <dgm:t>
        <a:bodyPr/>
        <a:lstStyle/>
        <a:p>
          <a:endParaRPr lang="en-GB"/>
        </a:p>
      </dgm:t>
    </dgm:pt>
    <dgm:pt modelId="{2DB55308-2EAB-4DF1-A6F5-2C5850BFA320}" type="sibTrans" cxnId="{EF6342CB-A36C-44F4-B30D-F8A9C7AC67FE}">
      <dgm:prSet/>
      <dgm:spPr/>
      <dgm:t>
        <a:bodyPr/>
        <a:lstStyle/>
        <a:p>
          <a:endParaRPr lang="en-GB"/>
        </a:p>
      </dgm:t>
    </dgm:pt>
    <dgm:pt modelId="{4720D71A-B636-4218-A4CB-56276BFCABDB}">
      <dgm:prSet/>
      <dgm:spPr/>
      <dgm:t>
        <a:bodyPr/>
        <a:lstStyle/>
        <a:p>
          <a:r>
            <a:rPr lang="en-GB" dirty="0"/>
            <a:t>evidence mixed save for Omron pedometer, which was associated with improved functional capacity in inflammatory arthritis</a:t>
          </a:r>
        </a:p>
      </dgm:t>
    </dgm:pt>
    <dgm:pt modelId="{E4CBA231-2CB6-4F5D-9D55-51B4D50FA5BF}" type="parTrans" cxnId="{9B065779-7811-4201-9CB6-1FEF96054776}">
      <dgm:prSet/>
      <dgm:spPr/>
      <dgm:t>
        <a:bodyPr/>
        <a:lstStyle/>
        <a:p>
          <a:endParaRPr lang="en-GB"/>
        </a:p>
      </dgm:t>
    </dgm:pt>
    <dgm:pt modelId="{4E251D81-8793-4149-9737-1496CBF22EF4}" type="sibTrans" cxnId="{9B065779-7811-4201-9CB6-1FEF96054776}">
      <dgm:prSet/>
      <dgm:spPr/>
      <dgm:t>
        <a:bodyPr/>
        <a:lstStyle/>
        <a:p>
          <a:endParaRPr lang="en-GB"/>
        </a:p>
      </dgm:t>
    </dgm:pt>
    <dgm:pt modelId="{E49E9F7C-BC8C-4127-9F42-24587C4DADE9}">
      <dgm:prSet/>
      <dgm:spPr/>
      <dgm:t>
        <a:bodyPr/>
        <a:lstStyle/>
        <a:p>
          <a:r>
            <a:rPr lang="en-GB" dirty="0"/>
            <a:t>decision-support tools</a:t>
          </a:r>
        </a:p>
      </dgm:t>
      <dgm:extLst>
        <a:ext uri="{E40237B7-FDA0-4F09-8148-C483321AD2D9}">
          <dgm14:cNvPr xmlns:dgm14="http://schemas.microsoft.com/office/drawing/2010/diagram" id="0" name="" descr="SmartArt with text:&#13;&#10;decision-support tools"/>
        </a:ext>
      </dgm:extLst>
    </dgm:pt>
    <dgm:pt modelId="{D108FF56-F741-4C9C-9E77-4E1771DBE70E}" type="parTrans" cxnId="{CA36B3F1-FB37-47AD-835B-806B7CB0FB02}">
      <dgm:prSet/>
      <dgm:spPr/>
      <dgm:t>
        <a:bodyPr/>
        <a:lstStyle/>
        <a:p>
          <a:endParaRPr lang="en-GB"/>
        </a:p>
      </dgm:t>
    </dgm:pt>
    <dgm:pt modelId="{9E827653-DD87-4612-A138-72077CA34CA4}" type="sibTrans" cxnId="{CA36B3F1-FB37-47AD-835B-806B7CB0FB02}">
      <dgm:prSet/>
      <dgm:spPr/>
      <dgm:t>
        <a:bodyPr/>
        <a:lstStyle/>
        <a:p>
          <a:endParaRPr lang="en-GB"/>
        </a:p>
      </dgm:t>
    </dgm:pt>
    <dgm:pt modelId="{537FCED4-B941-4542-8B8B-4106AC76DFFD}">
      <dgm:prSet/>
      <dgm:spPr/>
      <dgm:t>
        <a:bodyPr/>
        <a:lstStyle/>
        <a:p>
          <a:r>
            <a:rPr lang="en-GB" dirty="0"/>
            <a:t>improved knowledge (p&lt;0.0001)</a:t>
          </a:r>
        </a:p>
      </dgm:t>
      <dgm:extLst>
        <a:ext uri="{E40237B7-FDA0-4F09-8148-C483321AD2D9}">
          <dgm14:cNvPr xmlns:dgm14="http://schemas.microsoft.com/office/drawing/2010/diagram" id="0" name="" descr="SmartArt with text:&#13;&#10;decision-support tools&#13;&#10;- improved knowledge (p&lt;0.0001)&#13;&#10;- better understanding of personalised risk (p&lt;0.0001)&#13;&#10;- less decisional conflict and more empowerment from clinicians"/>
        </a:ext>
      </dgm:extLst>
    </dgm:pt>
    <dgm:pt modelId="{8290353B-EEFC-4E1A-9D45-75530510D885}" type="parTrans" cxnId="{64EEC8B4-43EC-4CB6-8C96-D478CB1F1108}">
      <dgm:prSet/>
      <dgm:spPr/>
      <dgm:t>
        <a:bodyPr/>
        <a:lstStyle/>
        <a:p>
          <a:endParaRPr lang="en-GB"/>
        </a:p>
      </dgm:t>
    </dgm:pt>
    <dgm:pt modelId="{810309A7-70C7-49E8-8D16-AB3DC7624AC8}" type="sibTrans" cxnId="{64EEC8B4-43EC-4CB6-8C96-D478CB1F1108}">
      <dgm:prSet/>
      <dgm:spPr/>
      <dgm:t>
        <a:bodyPr/>
        <a:lstStyle/>
        <a:p>
          <a:endParaRPr lang="en-GB"/>
        </a:p>
      </dgm:t>
    </dgm:pt>
    <dgm:pt modelId="{69C01079-E7F2-4465-B550-088FAD96600D}">
      <dgm:prSet/>
      <dgm:spPr/>
      <dgm:t>
        <a:bodyPr/>
        <a:lstStyle/>
        <a:p>
          <a:r>
            <a:rPr lang="en-GB" dirty="0"/>
            <a:t>better understanding of personalised risk (p&lt;0.0001)</a:t>
          </a:r>
        </a:p>
      </dgm:t>
    </dgm:pt>
    <dgm:pt modelId="{E7CB5F3D-C233-4F16-9A81-44E5AFDA7F45}" type="parTrans" cxnId="{095A5783-3B70-41E9-9779-AC46D447B11C}">
      <dgm:prSet/>
      <dgm:spPr/>
      <dgm:t>
        <a:bodyPr/>
        <a:lstStyle/>
        <a:p>
          <a:endParaRPr lang="en-GB"/>
        </a:p>
      </dgm:t>
    </dgm:pt>
    <dgm:pt modelId="{7EA9122C-7A3E-47B1-B550-2B66120389FB}" type="sibTrans" cxnId="{095A5783-3B70-41E9-9779-AC46D447B11C}">
      <dgm:prSet/>
      <dgm:spPr/>
      <dgm:t>
        <a:bodyPr/>
        <a:lstStyle/>
        <a:p>
          <a:endParaRPr lang="en-GB"/>
        </a:p>
      </dgm:t>
    </dgm:pt>
    <dgm:pt modelId="{40E335AE-76F4-4088-A420-BA956BEE888E}">
      <dgm:prSet/>
      <dgm:spPr/>
      <dgm:t>
        <a:bodyPr/>
        <a:lstStyle/>
        <a:p>
          <a:r>
            <a:rPr lang="en-GB" dirty="0"/>
            <a:t>less decisional conflict and more empowerment from clinicians</a:t>
          </a:r>
        </a:p>
      </dgm:t>
    </dgm:pt>
    <dgm:pt modelId="{E99A877E-F388-4E68-AD16-F855E091671B}" type="parTrans" cxnId="{FF809F22-F8D2-4634-8F42-D90E594A58EA}">
      <dgm:prSet/>
      <dgm:spPr/>
      <dgm:t>
        <a:bodyPr/>
        <a:lstStyle/>
        <a:p>
          <a:endParaRPr lang="en-GB"/>
        </a:p>
      </dgm:t>
    </dgm:pt>
    <dgm:pt modelId="{C4875844-CD13-4D07-A561-F65696022192}" type="sibTrans" cxnId="{FF809F22-F8D2-4634-8F42-D90E594A58EA}">
      <dgm:prSet/>
      <dgm:spPr/>
      <dgm:t>
        <a:bodyPr/>
        <a:lstStyle/>
        <a:p>
          <a:endParaRPr lang="en-GB"/>
        </a:p>
      </dgm:t>
    </dgm:pt>
    <dgm:pt modelId="{24F95C95-A345-4288-8EF9-FC62C5E7441E}">
      <dgm:prSet/>
      <dgm:spPr/>
      <dgm:t>
        <a:bodyPr/>
        <a:lstStyle/>
        <a:p>
          <a:r>
            <a:rPr lang="en-GB" dirty="0"/>
            <a:t>telehealth</a:t>
          </a:r>
        </a:p>
      </dgm:t>
      <dgm:extLst>
        <a:ext uri="{E40237B7-FDA0-4F09-8148-C483321AD2D9}">
          <dgm14:cNvPr xmlns:dgm14="http://schemas.microsoft.com/office/drawing/2010/diagram" id="0" name="" descr="SmartArt with text:&#13;&#10;telehealth"/>
        </a:ext>
      </dgm:extLst>
    </dgm:pt>
    <dgm:pt modelId="{EFB2ECF2-496F-44D9-9CB1-ED0655D1FEA6}" type="parTrans" cxnId="{D47F5046-3A6A-4B3B-B3B4-5CBA34717F64}">
      <dgm:prSet/>
      <dgm:spPr/>
      <dgm:t>
        <a:bodyPr/>
        <a:lstStyle/>
        <a:p>
          <a:endParaRPr lang="en-GB"/>
        </a:p>
      </dgm:t>
    </dgm:pt>
    <dgm:pt modelId="{D87FCC64-8080-45BA-99D4-E0186E205251}" type="sibTrans" cxnId="{D47F5046-3A6A-4B3B-B3B4-5CBA34717F64}">
      <dgm:prSet/>
      <dgm:spPr/>
      <dgm:t>
        <a:bodyPr/>
        <a:lstStyle/>
        <a:p>
          <a:endParaRPr lang="en-GB"/>
        </a:p>
      </dgm:t>
    </dgm:pt>
    <dgm:pt modelId="{DBBF6040-B75F-4E9A-B0A3-B825E68BC245}">
      <dgm:prSet/>
      <dgm:spPr/>
      <dgm:t>
        <a:bodyPr/>
        <a:lstStyle/>
        <a:p>
          <a:r>
            <a:rPr lang="en-GB"/>
            <a:t>reduced school absenteeism by 29%</a:t>
          </a:r>
        </a:p>
      </dgm:t>
      <dgm:extLst>
        <a:ext uri="{E40237B7-FDA0-4F09-8148-C483321AD2D9}">
          <dgm14:cNvPr xmlns:dgm14="http://schemas.microsoft.com/office/drawing/2010/diagram" id="0" name="" descr="SmartArt with text:&#13;&#10;telehealth&#13;&#10;- reduced school absenteeism by 29%&#13;&#10;- reduction of pain intensity by 17.3%&#13;&#10;- fitbit increased walking by 183.1 min/week"/>
        </a:ext>
      </dgm:extLst>
    </dgm:pt>
    <dgm:pt modelId="{94F78D57-0453-4335-825B-8AC7296D7DBB}" type="parTrans" cxnId="{300E0FF6-E969-4A5C-AC46-4D259BE6CE8F}">
      <dgm:prSet/>
      <dgm:spPr/>
      <dgm:t>
        <a:bodyPr/>
        <a:lstStyle/>
        <a:p>
          <a:endParaRPr lang="en-GB"/>
        </a:p>
      </dgm:t>
    </dgm:pt>
    <dgm:pt modelId="{A7B2518A-BA99-4DD0-B2CE-A7907CCFD301}" type="sibTrans" cxnId="{300E0FF6-E969-4A5C-AC46-4D259BE6CE8F}">
      <dgm:prSet/>
      <dgm:spPr/>
      <dgm:t>
        <a:bodyPr/>
        <a:lstStyle/>
        <a:p>
          <a:endParaRPr lang="en-GB"/>
        </a:p>
      </dgm:t>
    </dgm:pt>
    <dgm:pt modelId="{2082D41C-E269-4DA6-A6F1-BB48ACAAD094}">
      <dgm:prSet/>
      <dgm:spPr/>
      <dgm:t>
        <a:bodyPr/>
        <a:lstStyle/>
        <a:p>
          <a:r>
            <a:rPr lang="en-GB" dirty="0"/>
            <a:t>reduction of pain intensity by 17.3%</a:t>
          </a:r>
        </a:p>
      </dgm:t>
    </dgm:pt>
    <dgm:pt modelId="{C5643566-9930-445F-9950-BEF2C01589FD}" type="parTrans" cxnId="{09C661BD-1801-423B-8F27-CA445EED97AE}">
      <dgm:prSet/>
      <dgm:spPr/>
      <dgm:t>
        <a:bodyPr/>
        <a:lstStyle/>
        <a:p>
          <a:endParaRPr lang="en-GB"/>
        </a:p>
      </dgm:t>
    </dgm:pt>
    <dgm:pt modelId="{002F3699-1EF5-487E-AB1F-D70A54931674}" type="sibTrans" cxnId="{09C661BD-1801-423B-8F27-CA445EED97AE}">
      <dgm:prSet/>
      <dgm:spPr/>
      <dgm:t>
        <a:bodyPr/>
        <a:lstStyle/>
        <a:p>
          <a:endParaRPr lang="en-GB"/>
        </a:p>
      </dgm:t>
    </dgm:pt>
    <dgm:pt modelId="{04C59F96-7BE0-4B9F-8D40-125D3419874D}">
      <dgm:prSet/>
      <dgm:spPr/>
      <dgm:t>
        <a:bodyPr/>
        <a:lstStyle/>
        <a:p>
          <a:r>
            <a:rPr lang="en-GB"/>
            <a:t>fitbit increased walking by 183.1 min/week</a:t>
          </a:r>
        </a:p>
      </dgm:t>
    </dgm:pt>
    <dgm:pt modelId="{E2B260EC-8BBB-4A0C-BDD3-FC81F715D3F7}" type="parTrans" cxnId="{2F07252A-89C0-4F7C-9480-2ED819CD5032}">
      <dgm:prSet/>
      <dgm:spPr/>
      <dgm:t>
        <a:bodyPr/>
        <a:lstStyle/>
        <a:p>
          <a:endParaRPr lang="en-GB"/>
        </a:p>
      </dgm:t>
    </dgm:pt>
    <dgm:pt modelId="{8BF26D8B-AE38-42BD-BF16-89547003F130}" type="sibTrans" cxnId="{2F07252A-89C0-4F7C-9480-2ED819CD5032}">
      <dgm:prSet/>
      <dgm:spPr/>
      <dgm:t>
        <a:bodyPr/>
        <a:lstStyle/>
        <a:p>
          <a:endParaRPr lang="en-GB"/>
        </a:p>
      </dgm:t>
    </dgm:pt>
    <dgm:pt modelId="{C461CC7C-455E-44EA-AF92-EB1D95DD6307}">
      <dgm:prSet/>
      <dgm:spPr/>
      <dgm:t>
        <a:bodyPr/>
        <a:lstStyle/>
        <a:p>
          <a:r>
            <a:rPr lang="en-GB" dirty="0"/>
            <a:t>self-management education boosters with physical and psychological therapies</a:t>
          </a:r>
        </a:p>
      </dgm:t>
      <dgm:extLst>
        <a:ext uri="{E40237B7-FDA0-4F09-8148-C483321AD2D9}">
          <dgm14:cNvPr xmlns:dgm14="http://schemas.microsoft.com/office/drawing/2010/diagram" id="0" name="" descr="SmartArt with text:&#13;&#10;self-management education boosters with physical and psychological therapies"/>
        </a:ext>
      </dgm:extLst>
    </dgm:pt>
    <dgm:pt modelId="{7EED5841-4646-4DE5-B88F-8DE0CED5B002}" type="parTrans" cxnId="{9E13CDDF-40EA-40C5-81AE-3F87BD0F167D}">
      <dgm:prSet/>
      <dgm:spPr/>
      <dgm:t>
        <a:bodyPr/>
        <a:lstStyle/>
        <a:p>
          <a:endParaRPr lang="en-GB"/>
        </a:p>
      </dgm:t>
    </dgm:pt>
    <dgm:pt modelId="{87044598-1B8F-4304-9D22-3D7E4C70DCD7}" type="sibTrans" cxnId="{9E13CDDF-40EA-40C5-81AE-3F87BD0F167D}">
      <dgm:prSet/>
      <dgm:spPr/>
      <dgm:t>
        <a:bodyPr/>
        <a:lstStyle/>
        <a:p>
          <a:endParaRPr lang="en-GB"/>
        </a:p>
      </dgm:t>
    </dgm:pt>
    <dgm:pt modelId="{4628527E-FB9E-44D5-862A-8F49F0DF758F}">
      <dgm:prSet/>
      <dgm:spPr/>
      <dgm:t>
        <a:bodyPr/>
        <a:lstStyle/>
        <a:p>
          <a:r>
            <a:rPr lang="en-GB" dirty="0"/>
            <a:t>better pain management and less catastrophising (SMD (standardised mean difference) 20.42, 95% CI)</a:t>
          </a:r>
        </a:p>
      </dgm:t>
      <dgm:extLst>
        <a:ext uri="{E40237B7-FDA0-4F09-8148-C483321AD2D9}">
          <dgm14:cNvPr xmlns:dgm14="http://schemas.microsoft.com/office/drawing/2010/diagram" id="0" name="" descr="SmartArt with text:&#13;&#10;self-management education boosters with physical and psychological therapies&#13;&#10;- better pain management and less catastrophising (SMD (standardised mean difference) 20.42, 95% CI)&#13;&#10;- mean VAS (visual analogue score) for pain showed a reduction of 0.8 points"/>
        </a:ext>
      </dgm:extLst>
    </dgm:pt>
    <dgm:pt modelId="{EE16078D-3C81-4396-BF28-08E4D66420E0}" type="parTrans" cxnId="{4088AF03-EE40-4DE7-8F21-BB2C2DBCA3BD}">
      <dgm:prSet/>
      <dgm:spPr/>
      <dgm:t>
        <a:bodyPr/>
        <a:lstStyle/>
        <a:p>
          <a:endParaRPr lang="en-GB"/>
        </a:p>
      </dgm:t>
    </dgm:pt>
    <dgm:pt modelId="{D444AC46-2091-4EA6-9816-00AE0A8FA95B}" type="sibTrans" cxnId="{4088AF03-EE40-4DE7-8F21-BB2C2DBCA3BD}">
      <dgm:prSet/>
      <dgm:spPr/>
      <dgm:t>
        <a:bodyPr/>
        <a:lstStyle/>
        <a:p>
          <a:endParaRPr lang="en-GB"/>
        </a:p>
      </dgm:t>
    </dgm:pt>
    <dgm:pt modelId="{48BFBD18-A335-4C3F-BE85-9679673CB46F}">
      <dgm:prSet/>
      <dgm:spPr/>
      <dgm:t>
        <a:bodyPr/>
        <a:lstStyle/>
        <a:p>
          <a:r>
            <a:rPr lang="en-GB"/>
            <a:t>mean VAS (visual analogue score) for pain showed a reduction of 0.8 points</a:t>
          </a:r>
        </a:p>
      </dgm:t>
    </dgm:pt>
    <dgm:pt modelId="{C54263C4-7EB0-47EF-9894-0614279EDF3A}" type="parTrans" cxnId="{D23DE6A8-EC1A-4B0F-B02C-449557AE0B9B}">
      <dgm:prSet/>
      <dgm:spPr/>
      <dgm:t>
        <a:bodyPr/>
        <a:lstStyle/>
        <a:p>
          <a:endParaRPr lang="en-GB"/>
        </a:p>
      </dgm:t>
    </dgm:pt>
    <dgm:pt modelId="{9559028B-3BC9-4A27-BED3-4DDF54554DEB}" type="sibTrans" cxnId="{D23DE6A8-EC1A-4B0F-B02C-449557AE0B9B}">
      <dgm:prSet/>
      <dgm:spPr/>
      <dgm:t>
        <a:bodyPr/>
        <a:lstStyle/>
        <a:p>
          <a:endParaRPr lang="en-GB"/>
        </a:p>
      </dgm:t>
    </dgm:pt>
    <dgm:pt modelId="{0E5246B3-E45C-487A-9FBF-FF3DB61018C8}">
      <dgm:prSet/>
      <dgm:spPr/>
      <dgm:t>
        <a:bodyPr/>
        <a:lstStyle/>
        <a:p>
          <a:r>
            <a:rPr lang="en-GB" dirty="0"/>
            <a:t>digital-based SSM</a:t>
          </a:r>
        </a:p>
      </dgm:t>
      <dgm:extLst>
        <a:ext uri="{E40237B7-FDA0-4F09-8148-C483321AD2D9}">
          <dgm14:cNvPr xmlns:dgm14="http://schemas.microsoft.com/office/drawing/2010/diagram" id="0" name="" descr="SmartArt with text:&#13;&#10;digital-based SSM"/>
        </a:ext>
      </dgm:extLst>
    </dgm:pt>
    <dgm:pt modelId="{4146E1FE-39DA-4323-8453-B3CD99650D41}" type="parTrans" cxnId="{2DC54233-DBFB-4AC5-897A-5C3372800749}">
      <dgm:prSet/>
      <dgm:spPr/>
      <dgm:t>
        <a:bodyPr/>
        <a:lstStyle/>
        <a:p>
          <a:endParaRPr lang="en-GB"/>
        </a:p>
      </dgm:t>
    </dgm:pt>
    <dgm:pt modelId="{278B4EFB-2FD9-46C4-B330-7FE5D7BAEFE1}" type="sibTrans" cxnId="{2DC54233-DBFB-4AC5-897A-5C3372800749}">
      <dgm:prSet/>
      <dgm:spPr/>
      <dgm:t>
        <a:bodyPr/>
        <a:lstStyle/>
        <a:p>
          <a:endParaRPr lang="en-GB"/>
        </a:p>
      </dgm:t>
    </dgm:pt>
    <dgm:pt modelId="{922F51A8-2F67-4319-84AF-31FE402C826E}">
      <dgm:prSet/>
      <dgm:spPr/>
      <dgm:t>
        <a:bodyPr/>
        <a:lstStyle/>
        <a:p>
          <a:r>
            <a:rPr lang="en-GB"/>
            <a:t>showed a pain reduction of 5.7%</a:t>
          </a:r>
        </a:p>
      </dgm:t>
      <dgm:extLst>
        <a:ext uri="{E40237B7-FDA0-4F09-8148-C483321AD2D9}">
          <dgm14:cNvPr xmlns:dgm14="http://schemas.microsoft.com/office/drawing/2010/diagram" id="0" name="" descr="SmartArt with text:&#13;&#10;digital-based SSM&#13;&#10;- showed a pain reduction of 5.7%&#13;&#10;- better than health education by 0.17 SDs (standard deviations)"/>
        </a:ext>
      </dgm:extLst>
    </dgm:pt>
    <dgm:pt modelId="{E9DEE07D-4825-4408-83E5-03A3D5D2BF46}" type="parTrans" cxnId="{2E06C6B8-6396-48E0-BC53-BF183E680209}">
      <dgm:prSet/>
      <dgm:spPr/>
      <dgm:t>
        <a:bodyPr/>
        <a:lstStyle/>
        <a:p>
          <a:endParaRPr lang="en-GB"/>
        </a:p>
      </dgm:t>
    </dgm:pt>
    <dgm:pt modelId="{E5138F32-E410-450F-9287-7FB569A37175}" type="sibTrans" cxnId="{2E06C6B8-6396-48E0-BC53-BF183E680209}">
      <dgm:prSet/>
      <dgm:spPr/>
      <dgm:t>
        <a:bodyPr/>
        <a:lstStyle/>
        <a:p>
          <a:endParaRPr lang="en-GB"/>
        </a:p>
      </dgm:t>
    </dgm:pt>
    <dgm:pt modelId="{E96F8E4D-1A31-44CF-9881-28C02DC18058}">
      <dgm:prSet/>
      <dgm:spPr/>
      <dgm:t>
        <a:bodyPr/>
        <a:lstStyle/>
        <a:p>
          <a:r>
            <a:rPr lang="en-GB" dirty="0"/>
            <a:t>better than health education by 0.17 SDs (standard deviations)</a:t>
          </a:r>
        </a:p>
      </dgm:t>
    </dgm:pt>
    <dgm:pt modelId="{89C73F85-AB46-498C-B731-DC56DA6770AE}" type="parTrans" cxnId="{C6F30A2D-FADF-477A-BA84-1A9E95485F76}">
      <dgm:prSet/>
      <dgm:spPr/>
      <dgm:t>
        <a:bodyPr/>
        <a:lstStyle/>
        <a:p>
          <a:endParaRPr lang="en-GB"/>
        </a:p>
      </dgm:t>
    </dgm:pt>
    <dgm:pt modelId="{9DC218E8-F7BD-4C1C-8E57-036FAEE23053}" type="sibTrans" cxnId="{C6F30A2D-FADF-477A-BA84-1A9E95485F76}">
      <dgm:prSet/>
      <dgm:spPr/>
      <dgm:t>
        <a:bodyPr/>
        <a:lstStyle/>
        <a:p>
          <a:endParaRPr lang="en-GB"/>
        </a:p>
      </dgm:t>
    </dgm:pt>
    <dgm:pt modelId="{A318B37C-CB91-4CF2-A9BE-9038C1EA53C5}" type="pres">
      <dgm:prSet presAssocID="{1461DA41-AA40-46DA-BA03-6EDCCA655C00}" presName="Name0" presStyleCnt="0">
        <dgm:presLayoutVars>
          <dgm:dir/>
          <dgm:animLvl val="lvl"/>
          <dgm:resizeHandles/>
        </dgm:presLayoutVars>
      </dgm:prSet>
      <dgm:spPr/>
    </dgm:pt>
    <dgm:pt modelId="{18818316-16C6-4163-9614-71A3976C4896}" type="pres">
      <dgm:prSet presAssocID="{84951175-9841-4FE2-8682-782939C7CC7A}" presName="linNode" presStyleCnt="0"/>
      <dgm:spPr/>
    </dgm:pt>
    <dgm:pt modelId="{06EC5C9C-37FD-41B4-B4FE-CDCDB9BCDD42}" type="pres">
      <dgm:prSet presAssocID="{84951175-9841-4FE2-8682-782939C7CC7A}" presName="parentShp" presStyleLbl="node1" presStyleIdx="0" presStyleCnt="5">
        <dgm:presLayoutVars>
          <dgm:bulletEnabled val="1"/>
        </dgm:presLayoutVars>
      </dgm:prSet>
      <dgm:spPr/>
    </dgm:pt>
    <dgm:pt modelId="{34B01AB2-4409-47E2-8E76-50220B74396E}" type="pres">
      <dgm:prSet presAssocID="{84951175-9841-4FE2-8682-782939C7CC7A}" presName="childShp" presStyleLbl="bgAccFollowNode1" presStyleIdx="0" presStyleCnt="5">
        <dgm:presLayoutVars>
          <dgm:bulletEnabled val="1"/>
        </dgm:presLayoutVars>
      </dgm:prSet>
      <dgm:spPr/>
    </dgm:pt>
    <dgm:pt modelId="{88B721E0-ECAC-4D82-945E-84437B3CB04E}" type="pres">
      <dgm:prSet presAssocID="{B0022D99-3662-4DF2-82F3-B6E8FA36DAD2}" presName="spacing" presStyleCnt="0"/>
      <dgm:spPr/>
    </dgm:pt>
    <dgm:pt modelId="{ADE9A19D-3B53-4534-829B-F9A74F9BC3F4}" type="pres">
      <dgm:prSet presAssocID="{E49E9F7C-BC8C-4127-9F42-24587C4DADE9}" presName="linNode" presStyleCnt="0"/>
      <dgm:spPr/>
    </dgm:pt>
    <dgm:pt modelId="{0B271DE7-697F-44E3-99BC-362ECB94B38F}" type="pres">
      <dgm:prSet presAssocID="{E49E9F7C-BC8C-4127-9F42-24587C4DADE9}" presName="parentShp" presStyleLbl="node1" presStyleIdx="1" presStyleCnt="5">
        <dgm:presLayoutVars>
          <dgm:bulletEnabled val="1"/>
        </dgm:presLayoutVars>
      </dgm:prSet>
      <dgm:spPr/>
    </dgm:pt>
    <dgm:pt modelId="{53264435-3E75-466B-8045-3206FB600F30}" type="pres">
      <dgm:prSet presAssocID="{E49E9F7C-BC8C-4127-9F42-24587C4DADE9}" presName="childShp" presStyleLbl="bgAccFollowNode1" presStyleIdx="1" presStyleCnt="5">
        <dgm:presLayoutVars>
          <dgm:bulletEnabled val="1"/>
        </dgm:presLayoutVars>
      </dgm:prSet>
      <dgm:spPr/>
    </dgm:pt>
    <dgm:pt modelId="{6C9E7A86-6819-43F5-B335-C2E120767CFE}" type="pres">
      <dgm:prSet presAssocID="{9E827653-DD87-4612-A138-72077CA34CA4}" presName="spacing" presStyleCnt="0"/>
      <dgm:spPr/>
    </dgm:pt>
    <dgm:pt modelId="{B402FDB0-BFF3-4C1C-B7C9-57696BA3BB28}" type="pres">
      <dgm:prSet presAssocID="{24F95C95-A345-4288-8EF9-FC62C5E7441E}" presName="linNode" presStyleCnt="0"/>
      <dgm:spPr/>
    </dgm:pt>
    <dgm:pt modelId="{F08F0BF3-E635-4F5A-81D2-CFEBCE5F8EB2}" type="pres">
      <dgm:prSet presAssocID="{24F95C95-A345-4288-8EF9-FC62C5E7441E}" presName="parentShp" presStyleLbl="node1" presStyleIdx="2" presStyleCnt="5">
        <dgm:presLayoutVars>
          <dgm:bulletEnabled val="1"/>
        </dgm:presLayoutVars>
      </dgm:prSet>
      <dgm:spPr/>
    </dgm:pt>
    <dgm:pt modelId="{A3364692-7ABA-4F79-9AF2-505439E5CA63}" type="pres">
      <dgm:prSet presAssocID="{24F95C95-A345-4288-8EF9-FC62C5E7441E}" presName="childShp" presStyleLbl="bgAccFollowNode1" presStyleIdx="2" presStyleCnt="5">
        <dgm:presLayoutVars>
          <dgm:bulletEnabled val="1"/>
        </dgm:presLayoutVars>
      </dgm:prSet>
      <dgm:spPr/>
    </dgm:pt>
    <dgm:pt modelId="{B106C3A2-5144-4917-B174-AE6953C6CAA7}" type="pres">
      <dgm:prSet presAssocID="{D87FCC64-8080-45BA-99D4-E0186E205251}" presName="spacing" presStyleCnt="0"/>
      <dgm:spPr/>
    </dgm:pt>
    <dgm:pt modelId="{62B946CF-0AF2-4958-90B5-07D398298124}" type="pres">
      <dgm:prSet presAssocID="{C461CC7C-455E-44EA-AF92-EB1D95DD6307}" presName="linNode" presStyleCnt="0"/>
      <dgm:spPr/>
    </dgm:pt>
    <dgm:pt modelId="{778DEBCF-7255-478D-BB91-5E7DDF1B59BE}" type="pres">
      <dgm:prSet presAssocID="{C461CC7C-455E-44EA-AF92-EB1D95DD6307}" presName="parentShp" presStyleLbl="node1" presStyleIdx="3" presStyleCnt="5">
        <dgm:presLayoutVars>
          <dgm:bulletEnabled val="1"/>
        </dgm:presLayoutVars>
      </dgm:prSet>
      <dgm:spPr/>
    </dgm:pt>
    <dgm:pt modelId="{A61F7DC6-6ADF-4F5E-92B8-1562C0D2E7A7}" type="pres">
      <dgm:prSet presAssocID="{C461CC7C-455E-44EA-AF92-EB1D95DD6307}" presName="childShp" presStyleLbl="bgAccFollowNode1" presStyleIdx="3" presStyleCnt="5">
        <dgm:presLayoutVars>
          <dgm:bulletEnabled val="1"/>
        </dgm:presLayoutVars>
      </dgm:prSet>
      <dgm:spPr/>
    </dgm:pt>
    <dgm:pt modelId="{9F23E2A7-7D6C-44B3-A2BD-E096DFDBC360}" type="pres">
      <dgm:prSet presAssocID="{87044598-1B8F-4304-9D22-3D7E4C70DCD7}" presName="spacing" presStyleCnt="0"/>
      <dgm:spPr/>
    </dgm:pt>
    <dgm:pt modelId="{12B093DD-EEB3-4659-AC83-233B5C6EB83A}" type="pres">
      <dgm:prSet presAssocID="{0E5246B3-E45C-487A-9FBF-FF3DB61018C8}" presName="linNode" presStyleCnt="0"/>
      <dgm:spPr/>
    </dgm:pt>
    <dgm:pt modelId="{A0A9534A-C802-46BE-A7EB-1387F225AA0F}" type="pres">
      <dgm:prSet presAssocID="{0E5246B3-E45C-487A-9FBF-FF3DB61018C8}" presName="parentShp" presStyleLbl="node1" presStyleIdx="4" presStyleCnt="5">
        <dgm:presLayoutVars>
          <dgm:bulletEnabled val="1"/>
        </dgm:presLayoutVars>
      </dgm:prSet>
      <dgm:spPr/>
    </dgm:pt>
    <dgm:pt modelId="{BCEABCC2-877E-4825-801C-F97FA48E9333}" type="pres">
      <dgm:prSet presAssocID="{0E5246B3-E45C-487A-9FBF-FF3DB61018C8}" presName="childShp" presStyleLbl="bgAccFollowNode1" presStyleIdx="4" presStyleCnt="5">
        <dgm:presLayoutVars>
          <dgm:bulletEnabled val="1"/>
        </dgm:presLayoutVars>
      </dgm:prSet>
      <dgm:spPr/>
    </dgm:pt>
  </dgm:ptLst>
  <dgm:cxnLst>
    <dgm:cxn modelId="{4088AF03-EE40-4DE7-8F21-BB2C2DBCA3BD}" srcId="{C461CC7C-455E-44EA-AF92-EB1D95DD6307}" destId="{4628527E-FB9E-44D5-862A-8F49F0DF758F}" srcOrd="0" destOrd="0" parTransId="{EE16078D-3C81-4396-BF28-08E4D66420E0}" sibTransId="{D444AC46-2091-4EA6-9816-00AE0A8FA95B}"/>
    <dgm:cxn modelId="{0086F207-B81F-4D9E-895C-F56A1AB9F9ED}" type="presOf" srcId="{48BFBD18-A335-4C3F-BE85-9679673CB46F}" destId="{A61F7DC6-6ADF-4F5E-92B8-1562C0D2E7A7}" srcOrd="0" destOrd="1" presId="urn:microsoft.com/office/officeart/2005/8/layout/vList6"/>
    <dgm:cxn modelId="{1B5FB617-226A-42E8-9703-FEE3B618F45F}" type="presOf" srcId="{1461DA41-AA40-46DA-BA03-6EDCCA655C00}" destId="{A318B37C-CB91-4CF2-A9BE-9038C1EA53C5}" srcOrd="0" destOrd="0" presId="urn:microsoft.com/office/officeart/2005/8/layout/vList6"/>
    <dgm:cxn modelId="{FF809F22-F8D2-4634-8F42-D90E594A58EA}" srcId="{E49E9F7C-BC8C-4127-9F42-24587C4DADE9}" destId="{40E335AE-76F4-4088-A420-BA956BEE888E}" srcOrd="2" destOrd="0" parTransId="{E99A877E-F388-4E68-AD16-F855E091671B}" sibTransId="{C4875844-CD13-4D07-A561-F65696022192}"/>
    <dgm:cxn modelId="{2F07252A-89C0-4F7C-9480-2ED819CD5032}" srcId="{24F95C95-A345-4288-8EF9-FC62C5E7441E}" destId="{04C59F96-7BE0-4B9F-8D40-125D3419874D}" srcOrd="2" destOrd="0" parTransId="{E2B260EC-8BBB-4A0C-BDD3-FC81F715D3F7}" sibTransId="{8BF26D8B-AE38-42BD-BF16-89547003F130}"/>
    <dgm:cxn modelId="{C6F30A2D-FADF-477A-BA84-1A9E95485F76}" srcId="{0E5246B3-E45C-487A-9FBF-FF3DB61018C8}" destId="{E96F8E4D-1A31-44CF-9881-28C02DC18058}" srcOrd="1" destOrd="0" parTransId="{89C73F85-AB46-498C-B731-DC56DA6770AE}" sibTransId="{9DC218E8-F7BD-4C1C-8E57-036FAEE23053}"/>
    <dgm:cxn modelId="{2DC54233-DBFB-4AC5-897A-5C3372800749}" srcId="{1461DA41-AA40-46DA-BA03-6EDCCA655C00}" destId="{0E5246B3-E45C-487A-9FBF-FF3DB61018C8}" srcOrd="4" destOrd="0" parTransId="{4146E1FE-39DA-4323-8453-B3CD99650D41}" sibTransId="{278B4EFB-2FD9-46C4-B330-7FE5D7BAEFE1}"/>
    <dgm:cxn modelId="{D47F5046-3A6A-4B3B-B3B4-5CBA34717F64}" srcId="{1461DA41-AA40-46DA-BA03-6EDCCA655C00}" destId="{24F95C95-A345-4288-8EF9-FC62C5E7441E}" srcOrd="2" destOrd="0" parTransId="{EFB2ECF2-496F-44D9-9CB1-ED0655D1FEA6}" sibTransId="{D87FCC64-8080-45BA-99D4-E0186E205251}"/>
    <dgm:cxn modelId="{C2D78454-3346-4D13-A159-8B50EEE03114}" type="presOf" srcId="{E49E9F7C-BC8C-4127-9F42-24587C4DADE9}" destId="{0B271DE7-697F-44E3-99BC-362ECB94B38F}" srcOrd="0" destOrd="0" presId="urn:microsoft.com/office/officeart/2005/8/layout/vList6"/>
    <dgm:cxn modelId="{9B065779-7811-4201-9CB6-1FEF96054776}" srcId="{84951175-9841-4FE2-8682-782939C7CC7A}" destId="{4720D71A-B636-4218-A4CB-56276BFCABDB}" srcOrd="1" destOrd="0" parTransId="{E4CBA231-2CB6-4F5D-9D55-51B4D50FA5BF}" sibTransId="{4E251D81-8793-4149-9737-1496CBF22EF4}"/>
    <dgm:cxn modelId="{86488682-FE42-451A-9435-9C073667326F}" type="presOf" srcId="{5F2D8092-E4A9-4218-A75F-8A7C3AB74788}" destId="{34B01AB2-4409-47E2-8E76-50220B74396E}" srcOrd="0" destOrd="0" presId="urn:microsoft.com/office/officeart/2005/8/layout/vList6"/>
    <dgm:cxn modelId="{095A5783-3B70-41E9-9779-AC46D447B11C}" srcId="{E49E9F7C-BC8C-4127-9F42-24587C4DADE9}" destId="{69C01079-E7F2-4465-B550-088FAD96600D}" srcOrd="1" destOrd="0" parTransId="{E7CB5F3D-C233-4F16-9A81-44E5AFDA7F45}" sibTransId="{7EA9122C-7A3E-47B1-B550-2B66120389FB}"/>
    <dgm:cxn modelId="{BF00338C-5CE5-4B25-A99A-6AF452874738}" type="presOf" srcId="{69C01079-E7F2-4465-B550-088FAD96600D}" destId="{53264435-3E75-466B-8045-3206FB600F30}" srcOrd="0" destOrd="1" presId="urn:microsoft.com/office/officeart/2005/8/layout/vList6"/>
    <dgm:cxn modelId="{E0F44892-A808-4FA5-A751-0A267D5DCE9E}" type="presOf" srcId="{2082D41C-E269-4DA6-A6F1-BB48ACAAD094}" destId="{A3364692-7ABA-4F79-9AF2-505439E5CA63}" srcOrd="0" destOrd="1" presId="urn:microsoft.com/office/officeart/2005/8/layout/vList6"/>
    <dgm:cxn modelId="{97B26D9A-BEE1-464D-A0A2-F48A3B0D0A67}" type="presOf" srcId="{4720D71A-B636-4218-A4CB-56276BFCABDB}" destId="{34B01AB2-4409-47E2-8E76-50220B74396E}" srcOrd="0" destOrd="1" presId="urn:microsoft.com/office/officeart/2005/8/layout/vList6"/>
    <dgm:cxn modelId="{D23DE6A8-EC1A-4B0F-B02C-449557AE0B9B}" srcId="{C461CC7C-455E-44EA-AF92-EB1D95DD6307}" destId="{48BFBD18-A335-4C3F-BE85-9679673CB46F}" srcOrd="1" destOrd="0" parTransId="{C54263C4-7EB0-47EF-9894-0614279EDF3A}" sibTransId="{9559028B-3BC9-4A27-BED3-4DDF54554DEB}"/>
    <dgm:cxn modelId="{A5BB2FAB-A3BB-4FCA-89A5-791EF1DE5785}" srcId="{1461DA41-AA40-46DA-BA03-6EDCCA655C00}" destId="{84951175-9841-4FE2-8682-782939C7CC7A}" srcOrd="0" destOrd="0" parTransId="{FE41460E-3376-4D80-AFC2-DB603B00B33E}" sibTransId="{B0022D99-3662-4DF2-82F3-B6E8FA36DAD2}"/>
    <dgm:cxn modelId="{64EEC8B4-43EC-4CB6-8C96-D478CB1F1108}" srcId="{E49E9F7C-BC8C-4127-9F42-24587C4DADE9}" destId="{537FCED4-B941-4542-8B8B-4106AC76DFFD}" srcOrd="0" destOrd="0" parTransId="{8290353B-EEFC-4E1A-9D45-75530510D885}" sibTransId="{810309A7-70C7-49E8-8D16-AB3DC7624AC8}"/>
    <dgm:cxn modelId="{2E06C6B8-6396-48E0-BC53-BF183E680209}" srcId="{0E5246B3-E45C-487A-9FBF-FF3DB61018C8}" destId="{922F51A8-2F67-4319-84AF-31FE402C826E}" srcOrd="0" destOrd="0" parTransId="{E9DEE07D-4825-4408-83E5-03A3D5D2BF46}" sibTransId="{E5138F32-E410-450F-9287-7FB569A37175}"/>
    <dgm:cxn modelId="{09C661BD-1801-423B-8F27-CA445EED97AE}" srcId="{24F95C95-A345-4288-8EF9-FC62C5E7441E}" destId="{2082D41C-E269-4DA6-A6F1-BB48ACAAD094}" srcOrd="1" destOrd="0" parTransId="{C5643566-9930-445F-9950-BEF2C01589FD}" sibTransId="{002F3699-1EF5-487E-AB1F-D70A54931674}"/>
    <dgm:cxn modelId="{D7285CBE-52F3-4C90-B8A2-CA048050FA87}" type="presOf" srcId="{E96F8E4D-1A31-44CF-9881-28C02DC18058}" destId="{BCEABCC2-877E-4825-801C-F97FA48E9333}" srcOrd="0" destOrd="1" presId="urn:microsoft.com/office/officeart/2005/8/layout/vList6"/>
    <dgm:cxn modelId="{EF6342CB-A36C-44F4-B30D-F8A9C7AC67FE}" srcId="{84951175-9841-4FE2-8682-782939C7CC7A}" destId="{5F2D8092-E4A9-4218-A75F-8A7C3AB74788}" srcOrd="0" destOrd="0" parTransId="{2DE15C04-D8E8-440C-BA50-30D4952D372F}" sibTransId="{2DB55308-2EAB-4DF1-A6F5-2C5850BFA320}"/>
    <dgm:cxn modelId="{598514D3-4B44-4AF9-9F34-1B5175905C1F}" type="presOf" srcId="{DBBF6040-B75F-4E9A-B0A3-B825E68BC245}" destId="{A3364692-7ABA-4F79-9AF2-505439E5CA63}" srcOrd="0" destOrd="0" presId="urn:microsoft.com/office/officeart/2005/8/layout/vList6"/>
    <dgm:cxn modelId="{B854DBDC-503B-4AAB-A62A-8B67B1D8DC1D}" type="presOf" srcId="{0E5246B3-E45C-487A-9FBF-FF3DB61018C8}" destId="{A0A9534A-C802-46BE-A7EB-1387F225AA0F}" srcOrd="0" destOrd="0" presId="urn:microsoft.com/office/officeart/2005/8/layout/vList6"/>
    <dgm:cxn modelId="{9E13CDDF-40EA-40C5-81AE-3F87BD0F167D}" srcId="{1461DA41-AA40-46DA-BA03-6EDCCA655C00}" destId="{C461CC7C-455E-44EA-AF92-EB1D95DD6307}" srcOrd="3" destOrd="0" parTransId="{7EED5841-4646-4DE5-B88F-8DE0CED5B002}" sibTransId="{87044598-1B8F-4304-9D22-3D7E4C70DCD7}"/>
    <dgm:cxn modelId="{6F956FE3-191D-4FEF-8E43-36CB8F0FCF1A}" type="presOf" srcId="{537FCED4-B941-4542-8B8B-4106AC76DFFD}" destId="{53264435-3E75-466B-8045-3206FB600F30}" srcOrd="0" destOrd="0" presId="urn:microsoft.com/office/officeart/2005/8/layout/vList6"/>
    <dgm:cxn modelId="{29609FE3-FE3F-4C4E-A209-3C692404257C}" type="presOf" srcId="{C461CC7C-455E-44EA-AF92-EB1D95DD6307}" destId="{778DEBCF-7255-478D-BB91-5E7DDF1B59BE}" srcOrd="0" destOrd="0" presId="urn:microsoft.com/office/officeart/2005/8/layout/vList6"/>
    <dgm:cxn modelId="{75A8B6E7-0B6E-48B9-80D3-37D25B112E68}" type="presOf" srcId="{84951175-9841-4FE2-8682-782939C7CC7A}" destId="{06EC5C9C-37FD-41B4-B4FE-CDCDB9BCDD42}" srcOrd="0" destOrd="0" presId="urn:microsoft.com/office/officeart/2005/8/layout/vList6"/>
    <dgm:cxn modelId="{28908BE9-52C7-4145-B98C-8F3D5998197F}" type="presOf" srcId="{04C59F96-7BE0-4B9F-8D40-125D3419874D}" destId="{A3364692-7ABA-4F79-9AF2-505439E5CA63}" srcOrd="0" destOrd="2" presId="urn:microsoft.com/office/officeart/2005/8/layout/vList6"/>
    <dgm:cxn modelId="{419230EC-6BF3-49D8-A55F-ACE491903B37}" type="presOf" srcId="{40E335AE-76F4-4088-A420-BA956BEE888E}" destId="{53264435-3E75-466B-8045-3206FB600F30}" srcOrd="0" destOrd="2" presId="urn:microsoft.com/office/officeart/2005/8/layout/vList6"/>
    <dgm:cxn modelId="{CA36B3F1-FB37-47AD-835B-806B7CB0FB02}" srcId="{1461DA41-AA40-46DA-BA03-6EDCCA655C00}" destId="{E49E9F7C-BC8C-4127-9F42-24587C4DADE9}" srcOrd="1" destOrd="0" parTransId="{D108FF56-F741-4C9C-9E77-4E1771DBE70E}" sibTransId="{9E827653-DD87-4612-A138-72077CA34CA4}"/>
    <dgm:cxn modelId="{300E0FF6-E969-4A5C-AC46-4D259BE6CE8F}" srcId="{24F95C95-A345-4288-8EF9-FC62C5E7441E}" destId="{DBBF6040-B75F-4E9A-B0A3-B825E68BC245}" srcOrd="0" destOrd="0" parTransId="{94F78D57-0453-4335-825B-8AC7296D7DBB}" sibTransId="{A7B2518A-BA99-4DD0-B2CE-A7907CCFD301}"/>
    <dgm:cxn modelId="{20FED3F9-70E4-4A8F-B672-02ED0AEC7E5A}" type="presOf" srcId="{922F51A8-2F67-4319-84AF-31FE402C826E}" destId="{BCEABCC2-877E-4825-801C-F97FA48E9333}" srcOrd="0" destOrd="0" presId="urn:microsoft.com/office/officeart/2005/8/layout/vList6"/>
    <dgm:cxn modelId="{EEB55CFA-1844-4530-9F0F-8C369B0D4C8F}" type="presOf" srcId="{4628527E-FB9E-44D5-862A-8F49F0DF758F}" destId="{A61F7DC6-6ADF-4F5E-92B8-1562C0D2E7A7}" srcOrd="0" destOrd="0" presId="urn:microsoft.com/office/officeart/2005/8/layout/vList6"/>
    <dgm:cxn modelId="{41F01CFB-CC03-42E8-B89C-C2E430659E76}" type="presOf" srcId="{24F95C95-A345-4288-8EF9-FC62C5E7441E}" destId="{F08F0BF3-E635-4F5A-81D2-CFEBCE5F8EB2}" srcOrd="0" destOrd="0" presId="urn:microsoft.com/office/officeart/2005/8/layout/vList6"/>
    <dgm:cxn modelId="{319ED502-5787-4C69-8560-2444FA12537D}" type="presParOf" srcId="{A318B37C-CB91-4CF2-A9BE-9038C1EA53C5}" destId="{18818316-16C6-4163-9614-71A3976C4896}" srcOrd="0" destOrd="0" presId="urn:microsoft.com/office/officeart/2005/8/layout/vList6"/>
    <dgm:cxn modelId="{79659E9F-8726-4E55-83C2-63CA6BFCDBAC}" type="presParOf" srcId="{18818316-16C6-4163-9614-71A3976C4896}" destId="{06EC5C9C-37FD-41B4-B4FE-CDCDB9BCDD42}" srcOrd="0" destOrd="0" presId="urn:microsoft.com/office/officeart/2005/8/layout/vList6"/>
    <dgm:cxn modelId="{F3FE40FD-F035-47C0-89A6-3BA402B9339B}" type="presParOf" srcId="{18818316-16C6-4163-9614-71A3976C4896}" destId="{34B01AB2-4409-47E2-8E76-50220B74396E}" srcOrd="1" destOrd="0" presId="urn:microsoft.com/office/officeart/2005/8/layout/vList6"/>
    <dgm:cxn modelId="{1948A477-C02E-4C2B-A10D-68954540A565}" type="presParOf" srcId="{A318B37C-CB91-4CF2-A9BE-9038C1EA53C5}" destId="{88B721E0-ECAC-4D82-945E-84437B3CB04E}" srcOrd="1" destOrd="0" presId="urn:microsoft.com/office/officeart/2005/8/layout/vList6"/>
    <dgm:cxn modelId="{7A4CEE28-0CEA-44CB-9D13-B7CD20CA2F3B}" type="presParOf" srcId="{A318B37C-CB91-4CF2-A9BE-9038C1EA53C5}" destId="{ADE9A19D-3B53-4534-829B-F9A74F9BC3F4}" srcOrd="2" destOrd="0" presId="urn:microsoft.com/office/officeart/2005/8/layout/vList6"/>
    <dgm:cxn modelId="{7BEEEFCA-77E2-4369-9AFE-0F23671AF84E}" type="presParOf" srcId="{ADE9A19D-3B53-4534-829B-F9A74F9BC3F4}" destId="{0B271DE7-697F-44E3-99BC-362ECB94B38F}" srcOrd="0" destOrd="0" presId="urn:microsoft.com/office/officeart/2005/8/layout/vList6"/>
    <dgm:cxn modelId="{9894C439-25E2-4192-B022-513076AFF246}" type="presParOf" srcId="{ADE9A19D-3B53-4534-829B-F9A74F9BC3F4}" destId="{53264435-3E75-466B-8045-3206FB600F30}" srcOrd="1" destOrd="0" presId="urn:microsoft.com/office/officeart/2005/8/layout/vList6"/>
    <dgm:cxn modelId="{AEF20BBC-E746-450A-80F6-AE8A1C2A681F}" type="presParOf" srcId="{A318B37C-CB91-4CF2-A9BE-9038C1EA53C5}" destId="{6C9E7A86-6819-43F5-B335-C2E120767CFE}" srcOrd="3" destOrd="0" presId="urn:microsoft.com/office/officeart/2005/8/layout/vList6"/>
    <dgm:cxn modelId="{5D776601-2E9E-4AA1-8356-FC689EDA2656}" type="presParOf" srcId="{A318B37C-CB91-4CF2-A9BE-9038C1EA53C5}" destId="{B402FDB0-BFF3-4C1C-B7C9-57696BA3BB28}" srcOrd="4" destOrd="0" presId="urn:microsoft.com/office/officeart/2005/8/layout/vList6"/>
    <dgm:cxn modelId="{7D755768-309A-49A2-81BA-CEBDD65C022B}" type="presParOf" srcId="{B402FDB0-BFF3-4C1C-B7C9-57696BA3BB28}" destId="{F08F0BF3-E635-4F5A-81D2-CFEBCE5F8EB2}" srcOrd="0" destOrd="0" presId="urn:microsoft.com/office/officeart/2005/8/layout/vList6"/>
    <dgm:cxn modelId="{D1BE673A-20F5-45A0-B116-71242813DF84}" type="presParOf" srcId="{B402FDB0-BFF3-4C1C-B7C9-57696BA3BB28}" destId="{A3364692-7ABA-4F79-9AF2-505439E5CA63}" srcOrd="1" destOrd="0" presId="urn:microsoft.com/office/officeart/2005/8/layout/vList6"/>
    <dgm:cxn modelId="{38B44D4F-DC35-4F76-8DFA-05BFD373A926}" type="presParOf" srcId="{A318B37C-CB91-4CF2-A9BE-9038C1EA53C5}" destId="{B106C3A2-5144-4917-B174-AE6953C6CAA7}" srcOrd="5" destOrd="0" presId="urn:microsoft.com/office/officeart/2005/8/layout/vList6"/>
    <dgm:cxn modelId="{24A04F07-B228-44DF-99AB-153EA60E09E7}" type="presParOf" srcId="{A318B37C-CB91-4CF2-A9BE-9038C1EA53C5}" destId="{62B946CF-0AF2-4958-90B5-07D398298124}" srcOrd="6" destOrd="0" presId="urn:microsoft.com/office/officeart/2005/8/layout/vList6"/>
    <dgm:cxn modelId="{E761266B-E83D-4565-817F-5FE0BC692B6B}" type="presParOf" srcId="{62B946CF-0AF2-4958-90B5-07D398298124}" destId="{778DEBCF-7255-478D-BB91-5E7DDF1B59BE}" srcOrd="0" destOrd="0" presId="urn:microsoft.com/office/officeart/2005/8/layout/vList6"/>
    <dgm:cxn modelId="{1DB0CED9-C874-430E-963A-34964DAA613F}" type="presParOf" srcId="{62B946CF-0AF2-4958-90B5-07D398298124}" destId="{A61F7DC6-6ADF-4F5E-92B8-1562C0D2E7A7}" srcOrd="1" destOrd="0" presId="urn:microsoft.com/office/officeart/2005/8/layout/vList6"/>
    <dgm:cxn modelId="{B32D8D98-C32F-46C3-BFAB-D7B3913165B2}" type="presParOf" srcId="{A318B37C-CB91-4CF2-A9BE-9038C1EA53C5}" destId="{9F23E2A7-7D6C-44B3-A2BD-E096DFDBC360}" srcOrd="7" destOrd="0" presId="urn:microsoft.com/office/officeart/2005/8/layout/vList6"/>
    <dgm:cxn modelId="{2CB4EEBA-DD0D-4032-A149-F69EC83FFC38}" type="presParOf" srcId="{A318B37C-CB91-4CF2-A9BE-9038C1EA53C5}" destId="{12B093DD-EEB3-4659-AC83-233B5C6EB83A}" srcOrd="8" destOrd="0" presId="urn:microsoft.com/office/officeart/2005/8/layout/vList6"/>
    <dgm:cxn modelId="{B81C0A48-875E-46FC-9E9E-5E830D97376B}" type="presParOf" srcId="{12B093DD-EEB3-4659-AC83-233B5C6EB83A}" destId="{A0A9534A-C802-46BE-A7EB-1387F225AA0F}" srcOrd="0" destOrd="0" presId="urn:microsoft.com/office/officeart/2005/8/layout/vList6"/>
    <dgm:cxn modelId="{B9B40446-9731-4A78-8030-69D4D44D4079}" type="presParOf" srcId="{12B093DD-EEB3-4659-AC83-233B5C6EB83A}" destId="{BCEABCC2-877E-4825-801C-F97FA48E9333}" srcOrd="1" destOrd="0" presId="urn:microsoft.com/office/officeart/2005/8/layout/vList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B7BDDE5-1E3A-4DFC-9393-7AA7E4458D59}" type="doc">
      <dgm:prSet loTypeId="urn:microsoft.com/office/officeart/2005/8/layout/process4" loCatId="list" qsTypeId="urn:microsoft.com/office/officeart/2005/8/quickstyle/simple1" qsCatId="simple" csTypeId="urn:microsoft.com/office/officeart/2005/8/colors/accent1_2" csCatId="accent1" phldr="1"/>
      <dgm:spPr/>
      <dgm:t>
        <a:bodyPr/>
        <a:lstStyle/>
        <a:p>
          <a:endParaRPr lang="en-GB"/>
        </a:p>
      </dgm:t>
    </dgm:pt>
    <dgm:pt modelId="{D478196F-2225-4B34-9211-2810EC9144F9}">
      <dgm:prSet custT="1"/>
      <dgm:spPr/>
      <dgm:t>
        <a:bodyPr/>
        <a:lstStyle/>
        <a:p>
          <a:r>
            <a:rPr lang="en-GB" sz="2000" dirty="0"/>
            <a:t>health coaching</a:t>
          </a:r>
        </a:p>
      </dgm:t>
      <dgm:extLst>
        <a:ext uri="{E40237B7-FDA0-4F09-8148-C483321AD2D9}">
          <dgm14:cNvPr xmlns:dgm14="http://schemas.microsoft.com/office/drawing/2010/diagram" id="0" name="" descr="SmartArt with text:&#10;•health coaching&#10;reduction in hospital admissions (OR 0.46, p&lt;0.0001)&#10;•blended SSM (electronic &amp; f2f)&#10;less frequent exacerbation (RR 0.38)&#10;reduction in BMI (mean difference 0.81)&#10;improved QoL (SMD = 0.81)&#10;•nutritional support&#10;increases in protein intake (p&lt;0.001)&#10;•other SSM including education&#10;smoking cessation, exercise, exacerbation action plan etc&#10;2.86 lower score on St. George’s Respiratory Questionnaire&#10;lower risk of A&amp;E attendance (HR (Hazard Ratio) -0.52&#10;mean difference of 45.14m in walking test&#10;improved QoL scores&#10;"/>
        </a:ext>
      </dgm:extLst>
    </dgm:pt>
    <dgm:pt modelId="{93C803FE-E322-42FD-A42A-AF6D2FA29804}" type="parTrans" cxnId="{38C26D05-8F27-49BD-A319-8D33ECF864AD}">
      <dgm:prSet/>
      <dgm:spPr/>
      <dgm:t>
        <a:bodyPr/>
        <a:lstStyle/>
        <a:p>
          <a:endParaRPr lang="en-GB"/>
        </a:p>
      </dgm:t>
    </dgm:pt>
    <dgm:pt modelId="{64C0409C-764F-4EEE-A072-162727A765BB}" type="sibTrans" cxnId="{38C26D05-8F27-49BD-A319-8D33ECF864AD}">
      <dgm:prSet/>
      <dgm:spPr/>
      <dgm:t>
        <a:bodyPr/>
        <a:lstStyle/>
        <a:p>
          <a:endParaRPr lang="en-GB"/>
        </a:p>
      </dgm:t>
    </dgm:pt>
    <dgm:pt modelId="{4CC8E0A0-BEF2-43F9-8123-F850C16C2560}">
      <dgm:prSet/>
      <dgm:spPr/>
      <dgm:t>
        <a:bodyPr/>
        <a:lstStyle/>
        <a:p>
          <a:r>
            <a:rPr lang="en-GB" dirty="0"/>
            <a:t>reduction in hospital admissions (OR 0.46, p&lt;0.0001)</a:t>
          </a:r>
        </a:p>
      </dgm:t>
      <dgm:extLst>
        <a:ext uri="{E40237B7-FDA0-4F09-8148-C483321AD2D9}">
          <dgm14:cNvPr xmlns:dgm14="http://schemas.microsoft.com/office/drawing/2010/diagram" id="0" name="" descr="SmartArt with text:&#10;•health coaching&#10;reduction in hospital admissions (OR 0.46, p&lt;0.0001)&#10;•blended SSM (electronic &amp; f2f)&#10;less frequent exacerbation (RR 0.38)&#10;reduction in BMI (mean difference 0.81)&#10;improved QoL (SMD = 0.81)&#10;•nutritional support&#10;increases in protein intake (p&lt;0.001)&#10;•other SSM including education&#10;smoking cessation, exercise, exacerbation action plan etc&#10;2.86 lower score on St. George’s Respiratory Questionnaire&#10;lower risk of A&amp;E attendance (HR (Hazard Ratio) -0.52&#10;mean difference of 45.14m in walking test&#10;improved QoL scores&#10;"/>
        </a:ext>
      </dgm:extLst>
    </dgm:pt>
    <dgm:pt modelId="{E6DE9DA9-4EE6-496A-BB5F-0A16EC82E49F}" type="parTrans" cxnId="{57A3EEED-996C-44C7-A3E9-9BF8F3A33D56}">
      <dgm:prSet/>
      <dgm:spPr/>
      <dgm:t>
        <a:bodyPr/>
        <a:lstStyle/>
        <a:p>
          <a:endParaRPr lang="en-GB"/>
        </a:p>
      </dgm:t>
    </dgm:pt>
    <dgm:pt modelId="{28B9A4B8-622B-42DE-91C9-C2D430C42B35}" type="sibTrans" cxnId="{57A3EEED-996C-44C7-A3E9-9BF8F3A33D56}">
      <dgm:prSet/>
      <dgm:spPr/>
      <dgm:t>
        <a:bodyPr/>
        <a:lstStyle/>
        <a:p>
          <a:endParaRPr lang="en-GB"/>
        </a:p>
      </dgm:t>
    </dgm:pt>
    <dgm:pt modelId="{9404D1F3-1684-4201-B988-B233CDB7D2FC}">
      <dgm:prSet/>
      <dgm:spPr/>
      <dgm:t>
        <a:bodyPr/>
        <a:lstStyle/>
        <a:p>
          <a:r>
            <a:rPr lang="en-GB" dirty="0"/>
            <a:t>blended SSM (electronic &amp; f2f)</a:t>
          </a:r>
        </a:p>
      </dgm:t>
      <dgm:extLst>
        <a:ext uri="{E40237B7-FDA0-4F09-8148-C483321AD2D9}">
          <dgm14:cNvPr xmlns:dgm14="http://schemas.microsoft.com/office/drawing/2010/diagram" id="0" name="" descr="SmartArt with text:&#10;•health coaching&#10;reduction in hospital admissions (OR 0.46, p&lt;0.0001)&#10;•blended SSM (electronic &amp; f2f)&#10;less frequent exacerbation (RR 0.38)&#10;reduction in BMI (mean difference 0.81)&#10;improved QoL (SMD = 0.81)&#10;•nutritional support&#10;increases in protein intake (p&lt;0.001)&#10;•other SSM including education&#10;smoking cessation, exercise, exacerbation action plan etc&#10;2.86 lower score on St. George’s Respiratory Questionnaire&#10;lower risk of A&amp;E attendance (HR (Hazard Ratio) -0.52&#10;mean difference of 45.14m in walking test&#10;improved QoL scores&#10;"/>
        </a:ext>
      </dgm:extLst>
    </dgm:pt>
    <dgm:pt modelId="{8C21DF70-30CF-4312-950D-B270014A21ED}" type="parTrans" cxnId="{611BE96A-0BF9-4FBF-8A10-ECCA48EFDE93}">
      <dgm:prSet/>
      <dgm:spPr/>
      <dgm:t>
        <a:bodyPr/>
        <a:lstStyle/>
        <a:p>
          <a:endParaRPr lang="en-GB"/>
        </a:p>
      </dgm:t>
    </dgm:pt>
    <dgm:pt modelId="{09E449EF-FDE2-43FF-9271-88AB55347AF4}" type="sibTrans" cxnId="{611BE96A-0BF9-4FBF-8A10-ECCA48EFDE93}">
      <dgm:prSet/>
      <dgm:spPr/>
      <dgm:t>
        <a:bodyPr/>
        <a:lstStyle/>
        <a:p>
          <a:endParaRPr lang="en-GB"/>
        </a:p>
      </dgm:t>
    </dgm:pt>
    <dgm:pt modelId="{7585479F-5A02-4711-8FAB-92352752C72C}">
      <dgm:prSet/>
      <dgm:spPr/>
      <dgm:t>
        <a:bodyPr/>
        <a:lstStyle/>
        <a:p>
          <a:r>
            <a:rPr lang="en-GB" dirty="0"/>
            <a:t>less frequent exacerbation (RR 0.38)</a:t>
          </a:r>
        </a:p>
      </dgm:t>
      <dgm:extLst>
        <a:ext uri="{E40237B7-FDA0-4F09-8148-C483321AD2D9}">
          <dgm14:cNvPr xmlns:dgm14="http://schemas.microsoft.com/office/drawing/2010/diagram" id="0" name="" descr="SmartArt with text:&#10;•health coaching&#10;reduction in hospital admissions (OR 0.46, p&lt;0.0001)&#10;•blended SSM (electronic &amp; f2f)&#10;less frequent exacerbation (RR 0.38)&#10;reduction in BMI (mean difference 0.81)&#10;improved QoL (SMD = 0.81)&#10;•nutritional support&#10;increases in protein intake (p&lt;0.001)&#10;•other SSM including education&#10;smoking cessation, exercise, exacerbation action plan etc&#10;2.86 lower score on St. George’s Respiratory Questionnaire&#10;lower risk of A&amp;E attendance (HR (Hazard Ratio) -0.52&#10;mean difference of 45.14m in walking test&#10;improved QoL scores&#10;"/>
        </a:ext>
      </dgm:extLst>
    </dgm:pt>
    <dgm:pt modelId="{DE527B14-4228-4783-84F9-1267D3457798}" type="parTrans" cxnId="{63E35DC5-3CA2-4935-95EB-94F0786AB808}">
      <dgm:prSet/>
      <dgm:spPr/>
      <dgm:t>
        <a:bodyPr/>
        <a:lstStyle/>
        <a:p>
          <a:endParaRPr lang="en-GB"/>
        </a:p>
      </dgm:t>
    </dgm:pt>
    <dgm:pt modelId="{C618AE2E-3359-46A7-90F5-3A2986A8D21F}" type="sibTrans" cxnId="{63E35DC5-3CA2-4935-95EB-94F0786AB808}">
      <dgm:prSet/>
      <dgm:spPr/>
      <dgm:t>
        <a:bodyPr/>
        <a:lstStyle/>
        <a:p>
          <a:endParaRPr lang="en-GB"/>
        </a:p>
      </dgm:t>
    </dgm:pt>
    <dgm:pt modelId="{13B72904-AA57-4B08-8B4A-78B0368CF097}">
      <dgm:prSet/>
      <dgm:spPr/>
      <dgm:t>
        <a:bodyPr/>
        <a:lstStyle/>
        <a:p>
          <a:r>
            <a:rPr lang="en-GB" dirty="0"/>
            <a:t>reduction in BMI (mean difference 0.81)</a:t>
          </a:r>
        </a:p>
      </dgm:t>
      <dgm:extLst>
        <a:ext uri="{E40237B7-FDA0-4F09-8148-C483321AD2D9}">
          <dgm14:cNvPr xmlns:dgm14="http://schemas.microsoft.com/office/drawing/2010/diagram" id="0" name="" descr="SmartArt with text:&#10;•health coaching&#10;reduction in hospital admissions (OR 0.46, p&lt;0.0001)&#10;•blended SSM (electronic &amp; f2f)&#10;less frequent exacerbation (RR 0.38)&#10;reduction in BMI (mean difference 0.81)&#10;improved QoL (SMD = 0.81)&#10;•nutritional support&#10;increases in protein intake (p&lt;0.001)&#10;•other SSM including education&#10;smoking cessation, exercise, exacerbation action plan etc&#10;2.86 lower score on St. George’s Respiratory Questionnaire&#10;lower risk of A&amp;E attendance (HR (Hazard Ratio) -0.52&#10;mean difference of 45.14m in walking test&#10;improved QoL scores&#10;"/>
        </a:ext>
      </dgm:extLst>
    </dgm:pt>
    <dgm:pt modelId="{EE237AE2-713C-482C-BA6C-623FBF927FDF}" type="parTrans" cxnId="{42FF036D-33AF-4C35-A1B9-E6B306020177}">
      <dgm:prSet/>
      <dgm:spPr/>
      <dgm:t>
        <a:bodyPr/>
        <a:lstStyle/>
        <a:p>
          <a:endParaRPr lang="en-GB"/>
        </a:p>
      </dgm:t>
    </dgm:pt>
    <dgm:pt modelId="{2FC3F637-4142-41C7-8EE7-5E15FC2BA3D9}" type="sibTrans" cxnId="{42FF036D-33AF-4C35-A1B9-E6B306020177}">
      <dgm:prSet/>
      <dgm:spPr/>
      <dgm:t>
        <a:bodyPr/>
        <a:lstStyle/>
        <a:p>
          <a:endParaRPr lang="en-GB"/>
        </a:p>
      </dgm:t>
    </dgm:pt>
    <dgm:pt modelId="{DDE033B4-5A0E-401D-B264-3784C3C41418}">
      <dgm:prSet/>
      <dgm:spPr/>
      <dgm:t>
        <a:bodyPr/>
        <a:lstStyle/>
        <a:p>
          <a:r>
            <a:rPr lang="en-GB" dirty="0"/>
            <a:t>improved QoL (SMD = 0.81)</a:t>
          </a:r>
        </a:p>
      </dgm:t>
      <dgm:extLst>
        <a:ext uri="{E40237B7-FDA0-4F09-8148-C483321AD2D9}">
          <dgm14:cNvPr xmlns:dgm14="http://schemas.microsoft.com/office/drawing/2010/diagram" id="0" name="" descr="SmartArt with text:&#10;•health coaching&#10;reduction in hospital admissions (OR 0.46, p&lt;0.0001)&#10;•blended SSM (electronic &amp; f2f)&#10;less frequent exacerbation (RR 0.38)&#10;reduction in BMI (mean difference 0.81)&#10;improved QoL (SMD = 0.81)&#10;•nutritional support&#10;increases in protein intake (p&lt;0.001)&#10;•other SSM including education&#10;smoking cessation, exercise, exacerbation action plan etc&#10;2.86 lower score on St. George’s Respiratory Questionnaire&#10;lower risk of A&amp;E attendance (HR (Hazard Ratio) -0.52&#10;mean difference of 45.14m in walking test&#10;improved QoL scores&#10;"/>
        </a:ext>
      </dgm:extLst>
    </dgm:pt>
    <dgm:pt modelId="{70057517-5739-4BF9-900E-3CE7B56D01B2}" type="parTrans" cxnId="{677ECABB-B497-403C-A71D-7F3463A233B2}">
      <dgm:prSet/>
      <dgm:spPr/>
      <dgm:t>
        <a:bodyPr/>
        <a:lstStyle/>
        <a:p>
          <a:endParaRPr lang="en-GB"/>
        </a:p>
      </dgm:t>
    </dgm:pt>
    <dgm:pt modelId="{1B607EB3-BAA3-41C8-B1FB-171D57731B51}" type="sibTrans" cxnId="{677ECABB-B497-403C-A71D-7F3463A233B2}">
      <dgm:prSet/>
      <dgm:spPr/>
      <dgm:t>
        <a:bodyPr/>
        <a:lstStyle/>
        <a:p>
          <a:endParaRPr lang="en-GB"/>
        </a:p>
      </dgm:t>
    </dgm:pt>
    <dgm:pt modelId="{F88DA01A-A4E4-4AED-B8AE-A35FCE882AE6}">
      <dgm:prSet/>
      <dgm:spPr/>
      <dgm:t>
        <a:bodyPr/>
        <a:lstStyle/>
        <a:p>
          <a:r>
            <a:rPr lang="en-GB" dirty="0"/>
            <a:t>nutritional support</a:t>
          </a:r>
        </a:p>
      </dgm:t>
      <dgm:extLst>
        <a:ext uri="{E40237B7-FDA0-4F09-8148-C483321AD2D9}">
          <dgm14:cNvPr xmlns:dgm14="http://schemas.microsoft.com/office/drawing/2010/diagram" id="0" name="" descr="SmartArt with text:&#10;•health coaching&#10;reduction in hospital admissions (OR 0.46, p&lt;0.0001)&#10;•blended SSM (electronic &amp; f2f)&#10;less frequent exacerbation (RR 0.38)&#10;reduction in BMI (mean difference 0.81)&#10;improved QoL (SMD = 0.81)&#10;•nutritional support&#10;increases in protein intake (p&lt;0.001)&#10;•other SSM including education&#10;smoking cessation, exercise, exacerbation action plan etc&#10;2.86 lower score on St. George’s Respiratory Questionnaire&#10;lower risk of A&amp;E attendance (HR (Hazard Ratio) -0.52&#10;mean difference of 45.14m in walking test&#10;improved QoL scores&#10;"/>
        </a:ext>
      </dgm:extLst>
    </dgm:pt>
    <dgm:pt modelId="{EE37CBD5-B2E4-4692-868A-9EC4B4582901}" type="parTrans" cxnId="{11028777-984C-458A-B0E4-B6FE06BAB661}">
      <dgm:prSet/>
      <dgm:spPr/>
      <dgm:t>
        <a:bodyPr/>
        <a:lstStyle/>
        <a:p>
          <a:endParaRPr lang="en-GB"/>
        </a:p>
      </dgm:t>
    </dgm:pt>
    <dgm:pt modelId="{444AC89B-383D-4D6C-9AED-D2D6DE409C09}" type="sibTrans" cxnId="{11028777-984C-458A-B0E4-B6FE06BAB661}">
      <dgm:prSet/>
      <dgm:spPr/>
      <dgm:t>
        <a:bodyPr/>
        <a:lstStyle/>
        <a:p>
          <a:endParaRPr lang="en-GB"/>
        </a:p>
      </dgm:t>
    </dgm:pt>
    <dgm:pt modelId="{164AB011-ECB0-4C47-8B5F-AB2AAC363FFA}">
      <dgm:prSet/>
      <dgm:spPr/>
      <dgm:t>
        <a:bodyPr/>
        <a:lstStyle/>
        <a:p>
          <a:r>
            <a:rPr lang="en-GB" dirty="0"/>
            <a:t>increases in protein intake (p&lt;0.001)</a:t>
          </a:r>
        </a:p>
      </dgm:t>
      <dgm:extLst>
        <a:ext uri="{E40237B7-FDA0-4F09-8148-C483321AD2D9}">
          <dgm14:cNvPr xmlns:dgm14="http://schemas.microsoft.com/office/drawing/2010/diagram" id="0" name="" descr="SmartArt with text:&#10;•health coaching&#10;reduction in hospital admissions (OR 0.46, p&lt;0.0001)&#10;•blended SSM (electronic &amp; f2f)&#10;less frequent exacerbation (RR 0.38)&#10;reduction in BMI (mean difference 0.81)&#10;improved QoL (SMD = 0.81)&#10;•nutritional support&#10;increases in protein intake (p&lt;0.001)&#10;•other SSM including education&#10;smoking cessation, exercise, exacerbation action plan etc&#10;2.86 lower score on St. George’s Respiratory Questionnaire&#10;lower risk of A&amp;E attendance (HR (Hazard Ratio) -0.52&#10;mean difference of 45.14m in walking test&#10;improved QoL scores&#10;"/>
        </a:ext>
      </dgm:extLst>
    </dgm:pt>
    <dgm:pt modelId="{DA5269C7-D049-4FA9-A366-E9238A14926B}" type="parTrans" cxnId="{386536CD-B598-4F47-A51C-8F0A815A935A}">
      <dgm:prSet/>
      <dgm:spPr/>
      <dgm:t>
        <a:bodyPr/>
        <a:lstStyle/>
        <a:p>
          <a:endParaRPr lang="en-GB"/>
        </a:p>
      </dgm:t>
    </dgm:pt>
    <dgm:pt modelId="{00A64C26-D0FF-47EB-A63D-9D36991CC4BD}" type="sibTrans" cxnId="{386536CD-B598-4F47-A51C-8F0A815A935A}">
      <dgm:prSet/>
      <dgm:spPr/>
      <dgm:t>
        <a:bodyPr/>
        <a:lstStyle/>
        <a:p>
          <a:endParaRPr lang="en-GB"/>
        </a:p>
      </dgm:t>
    </dgm:pt>
    <dgm:pt modelId="{B52BF119-23ED-4865-B192-1DE59EABC5E7}">
      <dgm:prSet/>
      <dgm:spPr/>
      <dgm:t>
        <a:bodyPr/>
        <a:lstStyle/>
        <a:p>
          <a:r>
            <a:rPr lang="en-GB" dirty="0"/>
            <a:t>other SSM including education</a:t>
          </a:r>
        </a:p>
      </dgm:t>
      <dgm:extLst>
        <a:ext uri="{E40237B7-FDA0-4F09-8148-C483321AD2D9}">
          <dgm14:cNvPr xmlns:dgm14="http://schemas.microsoft.com/office/drawing/2010/diagram" id="0" name="" descr="SmartArt with text:&#10;•health coaching&#10;reduction in hospital admissions (OR 0.46, p&lt;0.0001)&#10;•blended SSM (electronic &amp; f2f)&#10;less frequent exacerbation (RR 0.38)&#10;reduction in BMI (mean difference 0.81)&#10;improved QoL (SMD = 0.81)&#10;•nutritional support&#10;increases in protein intake (p&lt;0.001)&#10;•other SSM including education&#10;smoking cessation, exercise, exacerbation action plan etc&#10;2.86 lower score on St. George’s Respiratory Questionnaire&#10;lower risk of A&amp;E attendance (HR (Hazard Ratio) -0.52&#10;mean difference of 45.14m in walking test&#10;improved QoL scores&#10;"/>
        </a:ext>
      </dgm:extLst>
    </dgm:pt>
    <dgm:pt modelId="{9488B2A3-42F7-4AAE-9A73-DF5961CA2D41}" type="parTrans" cxnId="{85103695-D803-4854-8F57-C9178E162990}">
      <dgm:prSet/>
      <dgm:spPr/>
      <dgm:t>
        <a:bodyPr/>
        <a:lstStyle/>
        <a:p>
          <a:endParaRPr lang="en-GB"/>
        </a:p>
      </dgm:t>
    </dgm:pt>
    <dgm:pt modelId="{CBB45F12-9B53-4319-8A35-D451B4381A5F}" type="sibTrans" cxnId="{85103695-D803-4854-8F57-C9178E162990}">
      <dgm:prSet/>
      <dgm:spPr/>
      <dgm:t>
        <a:bodyPr/>
        <a:lstStyle/>
        <a:p>
          <a:endParaRPr lang="en-GB"/>
        </a:p>
      </dgm:t>
    </dgm:pt>
    <dgm:pt modelId="{02A77C36-03AE-4DFE-A593-B0587A3EF893}">
      <dgm:prSet/>
      <dgm:spPr/>
      <dgm:t>
        <a:bodyPr/>
        <a:lstStyle/>
        <a:p>
          <a:r>
            <a:rPr lang="en-GB" dirty="0"/>
            <a:t>smoking cessation, exercise, exacerbation action plan etc</a:t>
          </a:r>
        </a:p>
      </dgm:t>
      <dgm:extLst>
        <a:ext uri="{E40237B7-FDA0-4F09-8148-C483321AD2D9}">
          <dgm14:cNvPr xmlns:dgm14="http://schemas.microsoft.com/office/drawing/2010/diagram" id="0" name="" descr="SmartArt with text:&#10;•health coaching&#10;reduction in hospital admissions (OR 0.46, p&lt;0.0001)&#10;•blended SSM (electronic &amp; f2f)&#10;less frequent exacerbation (RR 0.38)&#10;reduction in BMI (mean difference 0.81)&#10;improved QoL (SMD = 0.81)&#10;•nutritional support&#10;increases in protein intake (p&lt;0.001)&#10;•other SSM including education&#10;smoking cessation, exercise, exacerbation action plan etc&#10;2.86 lower score on St. George’s Respiratory Questionnaire&#10;lower risk of A&amp;E attendance (HR (Hazard Ratio) -0.52&#10;mean difference of 45.14m in walking test&#10;improved QoL scores&#10;"/>
        </a:ext>
      </dgm:extLst>
    </dgm:pt>
    <dgm:pt modelId="{4F41BF5C-E1A7-427F-8608-9C929837CC4A}" type="parTrans" cxnId="{EBB24EC8-8C2D-4D2B-8618-BC7BEE9F9A2B}">
      <dgm:prSet/>
      <dgm:spPr/>
      <dgm:t>
        <a:bodyPr/>
        <a:lstStyle/>
        <a:p>
          <a:endParaRPr lang="en-GB"/>
        </a:p>
      </dgm:t>
    </dgm:pt>
    <dgm:pt modelId="{15119D16-2071-4936-AD61-6A5A9914B14A}" type="sibTrans" cxnId="{EBB24EC8-8C2D-4D2B-8618-BC7BEE9F9A2B}">
      <dgm:prSet/>
      <dgm:spPr/>
      <dgm:t>
        <a:bodyPr/>
        <a:lstStyle/>
        <a:p>
          <a:endParaRPr lang="en-GB"/>
        </a:p>
      </dgm:t>
    </dgm:pt>
    <dgm:pt modelId="{B83C7106-AF9C-4AE8-A0DA-583DD1BAC39C}">
      <dgm:prSet/>
      <dgm:spPr/>
      <dgm:t>
        <a:bodyPr/>
        <a:lstStyle/>
        <a:p>
          <a:r>
            <a:rPr lang="en-GB" dirty="0"/>
            <a:t>2.86 lower score on St. George’s Respiratory Questionnaire</a:t>
          </a:r>
        </a:p>
      </dgm:t>
      <dgm:extLst>
        <a:ext uri="{E40237B7-FDA0-4F09-8148-C483321AD2D9}">
          <dgm14:cNvPr xmlns:dgm14="http://schemas.microsoft.com/office/drawing/2010/diagram" id="0" name="" descr="SmartArt with text:&#10;•health coaching&#10;reduction in hospital admissions (OR 0.46, p&lt;0.0001)&#10;•blended SSM (electronic &amp; f2f)&#10;less frequent exacerbation (RR 0.38)&#10;reduction in BMI (mean difference 0.81)&#10;improved QoL (SMD = 0.81)&#10;•nutritional support&#10;increases in protein intake (p&lt;0.001)&#10;•other SSM including education&#10;smoking cessation, exercise, exacerbation action plan etc&#10;2.86 lower score on St. George’s Respiratory Questionnaire&#10;lower risk of A&amp;E attendance (HR (Hazard Ratio) -0.52&#10;mean difference of 45.14m in walking test&#10;improved QoL scores&#10;"/>
        </a:ext>
      </dgm:extLst>
    </dgm:pt>
    <dgm:pt modelId="{8DBDB3C6-96F0-4AAF-8432-FC445EAC0A79}" type="parTrans" cxnId="{356D23EF-6249-4E07-A611-C30E411B28E7}">
      <dgm:prSet/>
      <dgm:spPr/>
      <dgm:t>
        <a:bodyPr/>
        <a:lstStyle/>
        <a:p>
          <a:endParaRPr lang="en-GB"/>
        </a:p>
      </dgm:t>
    </dgm:pt>
    <dgm:pt modelId="{95277322-5F6F-40BB-9721-8E8E1E9DC102}" type="sibTrans" cxnId="{356D23EF-6249-4E07-A611-C30E411B28E7}">
      <dgm:prSet/>
      <dgm:spPr/>
      <dgm:t>
        <a:bodyPr/>
        <a:lstStyle/>
        <a:p>
          <a:endParaRPr lang="en-GB"/>
        </a:p>
      </dgm:t>
    </dgm:pt>
    <dgm:pt modelId="{1B47A5CE-1551-41BB-A15C-2A0A9119083A}">
      <dgm:prSet/>
      <dgm:spPr/>
      <dgm:t>
        <a:bodyPr/>
        <a:lstStyle/>
        <a:p>
          <a:r>
            <a:rPr lang="en-GB" dirty="0"/>
            <a:t>lower risk of A&amp;E attendance (HR (Hazard Ratio) -0.52</a:t>
          </a:r>
        </a:p>
      </dgm:t>
      <dgm:extLst>
        <a:ext uri="{E40237B7-FDA0-4F09-8148-C483321AD2D9}">
          <dgm14:cNvPr xmlns:dgm14="http://schemas.microsoft.com/office/drawing/2010/diagram" id="0" name="" descr="SmartArt with text:&#10;•health coaching&#10;reduction in hospital admissions (OR 0.46, p&lt;0.0001)&#10;•blended SSM (electronic &amp; f2f)&#10;less frequent exacerbation (RR 0.38)&#10;reduction in BMI (mean difference 0.81)&#10;improved QoL (SMD = 0.81)&#10;•nutritional support&#10;increases in protein intake (p&lt;0.001)&#10;•other SSM including education&#10;smoking cessation, exercise, exacerbation action plan etc&#10;2.86 lower score on St. George’s Respiratory Questionnaire&#10;lower risk of A&amp;E attendance (HR (Hazard Ratio) -0.52&#10;mean difference of 45.14m in walking test&#10;improved QoL scores&#10;"/>
        </a:ext>
      </dgm:extLst>
    </dgm:pt>
    <dgm:pt modelId="{4D757E1B-71ED-4567-9C31-519A91F74EC6}" type="parTrans" cxnId="{710806D8-CA9A-47A1-A8D3-14EEE7A35694}">
      <dgm:prSet/>
      <dgm:spPr/>
      <dgm:t>
        <a:bodyPr/>
        <a:lstStyle/>
        <a:p>
          <a:endParaRPr lang="en-GB"/>
        </a:p>
      </dgm:t>
    </dgm:pt>
    <dgm:pt modelId="{8AC51388-36C6-4F4D-AC7F-F1CA1E3BC289}" type="sibTrans" cxnId="{710806D8-CA9A-47A1-A8D3-14EEE7A35694}">
      <dgm:prSet/>
      <dgm:spPr/>
      <dgm:t>
        <a:bodyPr/>
        <a:lstStyle/>
        <a:p>
          <a:endParaRPr lang="en-GB"/>
        </a:p>
      </dgm:t>
    </dgm:pt>
    <dgm:pt modelId="{28AD9734-DCB1-4926-9624-BB4F5D274EB3}">
      <dgm:prSet/>
      <dgm:spPr/>
      <dgm:t>
        <a:bodyPr/>
        <a:lstStyle/>
        <a:p>
          <a:r>
            <a:rPr lang="en-GB" dirty="0"/>
            <a:t>mean difference of 45.14m in walking test</a:t>
          </a:r>
        </a:p>
      </dgm:t>
      <dgm:extLst>
        <a:ext uri="{E40237B7-FDA0-4F09-8148-C483321AD2D9}">
          <dgm14:cNvPr xmlns:dgm14="http://schemas.microsoft.com/office/drawing/2010/diagram" id="0" name="" descr="SmartArt with text:&#10;•health coaching&#10;reduction in hospital admissions (OR 0.46, p&lt;0.0001)&#10;•blended SSM (electronic &amp; f2f)&#10;less frequent exacerbation (RR 0.38)&#10;reduction in BMI (mean difference 0.81)&#10;improved QoL (SMD = 0.81)&#10;•nutritional support&#10;increases in protein intake (p&lt;0.001)&#10;•other SSM including education&#10;smoking cessation, exercise, exacerbation action plan etc&#10;2.86 lower score on St. George’s Respiratory Questionnaire&#10;lower risk of A&amp;E attendance (HR (Hazard Ratio) -0.52&#10;mean difference of 45.14m in walking test&#10;improved QoL scores&#10;"/>
        </a:ext>
      </dgm:extLst>
    </dgm:pt>
    <dgm:pt modelId="{34F15D16-67A3-4F85-8A6A-84C1330574C1}" type="parTrans" cxnId="{16644DBD-D00B-4236-B332-2865556F592B}">
      <dgm:prSet/>
      <dgm:spPr/>
      <dgm:t>
        <a:bodyPr/>
        <a:lstStyle/>
        <a:p>
          <a:endParaRPr lang="en-GB"/>
        </a:p>
      </dgm:t>
    </dgm:pt>
    <dgm:pt modelId="{30E76C9C-591A-4B0B-9119-24F965474B83}" type="sibTrans" cxnId="{16644DBD-D00B-4236-B332-2865556F592B}">
      <dgm:prSet/>
      <dgm:spPr/>
      <dgm:t>
        <a:bodyPr/>
        <a:lstStyle/>
        <a:p>
          <a:endParaRPr lang="en-GB"/>
        </a:p>
      </dgm:t>
    </dgm:pt>
    <dgm:pt modelId="{A44BAC95-A4FB-45F8-9990-A65BBB65385E}">
      <dgm:prSet/>
      <dgm:spPr/>
      <dgm:t>
        <a:bodyPr/>
        <a:lstStyle/>
        <a:p>
          <a:r>
            <a:rPr lang="en-GB" dirty="0"/>
            <a:t>improved QoL scores</a:t>
          </a:r>
        </a:p>
      </dgm:t>
      <dgm:extLst>
        <a:ext uri="{E40237B7-FDA0-4F09-8148-C483321AD2D9}">
          <dgm14:cNvPr xmlns:dgm14="http://schemas.microsoft.com/office/drawing/2010/diagram" id="0" name="" descr="SmartArt with text:&#10;•health coaching&#10;reduction in hospital admissions (OR 0.46, p&lt;0.0001)&#10;•blended SSM (electronic &amp; f2f)&#10;less frequent exacerbation (RR 0.38)&#10;reduction in BMI (mean difference 0.81)&#10;improved QoL (SMD = 0.81)&#10;•nutritional support&#10;increases in protein intake (p&lt;0.001)&#10;•other SSM including education&#10;smoking cessation, exercise, exacerbation action plan etc&#10;2.86 lower score on St. George’s Respiratory Questionnaire&#10;lower risk of A&amp;E attendance (HR (Hazard Ratio) -0.52&#10;mean difference of 45.14m in walking test&#10;improved QoL scores&#10;"/>
        </a:ext>
      </dgm:extLst>
    </dgm:pt>
    <dgm:pt modelId="{1E3B059B-DC0C-4C35-B675-82C302371FF1}" type="parTrans" cxnId="{723782FB-E493-460C-9162-D444A632092A}">
      <dgm:prSet/>
      <dgm:spPr/>
      <dgm:t>
        <a:bodyPr/>
        <a:lstStyle/>
        <a:p>
          <a:endParaRPr lang="en-GB"/>
        </a:p>
      </dgm:t>
    </dgm:pt>
    <dgm:pt modelId="{73C13AC5-A502-476C-8942-6974BCC43BC6}" type="sibTrans" cxnId="{723782FB-E493-460C-9162-D444A632092A}">
      <dgm:prSet/>
      <dgm:spPr/>
      <dgm:t>
        <a:bodyPr/>
        <a:lstStyle/>
        <a:p>
          <a:endParaRPr lang="en-GB"/>
        </a:p>
      </dgm:t>
    </dgm:pt>
    <dgm:pt modelId="{91DAB18E-CFDC-4CA9-8B80-678EEE1DA36E}" type="pres">
      <dgm:prSet presAssocID="{FB7BDDE5-1E3A-4DFC-9393-7AA7E4458D59}" presName="Name0" presStyleCnt="0">
        <dgm:presLayoutVars>
          <dgm:dir/>
          <dgm:animLvl val="lvl"/>
          <dgm:resizeHandles val="exact"/>
        </dgm:presLayoutVars>
      </dgm:prSet>
      <dgm:spPr/>
    </dgm:pt>
    <dgm:pt modelId="{3BCC3BA9-AF1D-4ECE-8C0D-F27FAB1AA3CC}" type="pres">
      <dgm:prSet presAssocID="{B52BF119-23ED-4865-B192-1DE59EABC5E7}" presName="boxAndChildren" presStyleCnt="0"/>
      <dgm:spPr/>
    </dgm:pt>
    <dgm:pt modelId="{6CB0B658-73AC-4C41-9EE8-82866DA21EEE}" type="pres">
      <dgm:prSet presAssocID="{B52BF119-23ED-4865-B192-1DE59EABC5E7}" presName="parentTextBox" presStyleLbl="node1" presStyleIdx="0" presStyleCnt="4"/>
      <dgm:spPr/>
    </dgm:pt>
    <dgm:pt modelId="{D0F93EB8-7C5A-4CE4-91F5-6FBB1E8DBB68}" type="pres">
      <dgm:prSet presAssocID="{B52BF119-23ED-4865-B192-1DE59EABC5E7}" presName="entireBox" presStyleLbl="node1" presStyleIdx="0" presStyleCnt="4"/>
      <dgm:spPr/>
    </dgm:pt>
    <dgm:pt modelId="{9AF27312-5F37-4B25-8B80-57355B3F7D48}" type="pres">
      <dgm:prSet presAssocID="{B52BF119-23ED-4865-B192-1DE59EABC5E7}" presName="descendantBox" presStyleCnt="0"/>
      <dgm:spPr/>
    </dgm:pt>
    <dgm:pt modelId="{E8B3B2F6-3348-436F-AEB6-962657292EDE}" type="pres">
      <dgm:prSet presAssocID="{02A77C36-03AE-4DFE-A593-B0587A3EF893}" presName="childTextBox" presStyleLbl="fgAccFollowNode1" presStyleIdx="0" presStyleCnt="10">
        <dgm:presLayoutVars>
          <dgm:bulletEnabled val="1"/>
        </dgm:presLayoutVars>
      </dgm:prSet>
      <dgm:spPr/>
    </dgm:pt>
    <dgm:pt modelId="{9D4237D2-0DC2-4360-B76D-0FBC52DBCAD5}" type="pres">
      <dgm:prSet presAssocID="{B83C7106-AF9C-4AE8-A0DA-583DD1BAC39C}" presName="childTextBox" presStyleLbl="fgAccFollowNode1" presStyleIdx="1" presStyleCnt="10">
        <dgm:presLayoutVars>
          <dgm:bulletEnabled val="1"/>
        </dgm:presLayoutVars>
      </dgm:prSet>
      <dgm:spPr/>
    </dgm:pt>
    <dgm:pt modelId="{20785A75-C547-4FA3-A42F-339AD78E55F1}" type="pres">
      <dgm:prSet presAssocID="{1B47A5CE-1551-41BB-A15C-2A0A9119083A}" presName="childTextBox" presStyleLbl="fgAccFollowNode1" presStyleIdx="2" presStyleCnt="10">
        <dgm:presLayoutVars>
          <dgm:bulletEnabled val="1"/>
        </dgm:presLayoutVars>
      </dgm:prSet>
      <dgm:spPr/>
    </dgm:pt>
    <dgm:pt modelId="{9EE42C5F-561D-41A2-A350-030F911960A2}" type="pres">
      <dgm:prSet presAssocID="{28AD9734-DCB1-4926-9624-BB4F5D274EB3}" presName="childTextBox" presStyleLbl="fgAccFollowNode1" presStyleIdx="3" presStyleCnt="10">
        <dgm:presLayoutVars>
          <dgm:bulletEnabled val="1"/>
        </dgm:presLayoutVars>
      </dgm:prSet>
      <dgm:spPr/>
    </dgm:pt>
    <dgm:pt modelId="{289B29F1-D10C-4718-93BB-60FB4BE92F84}" type="pres">
      <dgm:prSet presAssocID="{A44BAC95-A4FB-45F8-9990-A65BBB65385E}" presName="childTextBox" presStyleLbl="fgAccFollowNode1" presStyleIdx="4" presStyleCnt="10">
        <dgm:presLayoutVars>
          <dgm:bulletEnabled val="1"/>
        </dgm:presLayoutVars>
      </dgm:prSet>
      <dgm:spPr/>
    </dgm:pt>
    <dgm:pt modelId="{8E0E470D-AAE1-4533-A9E3-40DB41798189}" type="pres">
      <dgm:prSet presAssocID="{444AC89B-383D-4D6C-9AED-D2D6DE409C09}" presName="sp" presStyleCnt="0"/>
      <dgm:spPr/>
    </dgm:pt>
    <dgm:pt modelId="{090F06B0-846C-4995-9B9B-E811C61897BB}" type="pres">
      <dgm:prSet presAssocID="{F88DA01A-A4E4-4AED-B8AE-A35FCE882AE6}" presName="arrowAndChildren" presStyleCnt="0"/>
      <dgm:spPr/>
    </dgm:pt>
    <dgm:pt modelId="{31553404-6395-4ABE-9A1E-DB713DDD7FDA}" type="pres">
      <dgm:prSet presAssocID="{F88DA01A-A4E4-4AED-B8AE-A35FCE882AE6}" presName="parentTextArrow" presStyleLbl="node1" presStyleIdx="0" presStyleCnt="4"/>
      <dgm:spPr/>
    </dgm:pt>
    <dgm:pt modelId="{1BD30136-FBF0-4008-82A8-9E5432D0A186}" type="pres">
      <dgm:prSet presAssocID="{F88DA01A-A4E4-4AED-B8AE-A35FCE882AE6}" presName="arrow" presStyleLbl="node1" presStyleIdx="1" presStyleCnt="4"/>
      <dgm:spPr/>
    </dgm:pt>
    <dgm:pt modelId="{0EF00378-E345-4DEC-99C7-2FB228AC0CCC}" type="pres">
      <dgm:prSet presAssocID="{F88DA01A-A4E4-4AED-B8AE-A35FCE882AE6}" presName="descendantArrow" presStyleCnt="0"/>
      <dgm:spPr/>
    </dgm:pt>
    <dgm:pt modelId="{528EC6D6-4C82-46A9-B252-FE1E11055775}" type="pres">
      <dgm:prSet presAssocID="{164AB011-ECB0-4C47-8B5F-AB2AAC363FFA}" presName="childTextArrow" presStyleLbl="fgAccFollowNode1" presStyleIdx="5" presStyleCnt="10">
        <dgm:presLayoutVars>
          <dgm:bulletEnabled val="1"/>
        </dgm:presLayoutVars>
      </dgm:prSet>
      <dgm:spPr/>
    </dgm:pt>
    <dgm:pt modelId="{142DF393-13F1-4593-99DB-C26A52EE3A7B}" type="pres">
      <dgm:prSet presAssocID="{09E449EF-FDE2-43FF-9271-88AB55347AF4}" presName="sp" presStyleCnt="0"/>
      <dgm:spPr/>
    </dgm:pt>
    <dgm:pt modelId="{B0F4AE3C-B473-4221-AD8A-C8025F159A4F}" type="pres">
      <dgm:prSet presAssocID="{9404D1F3-1684-4201-B988-B233CDB7D2FC}" presName="arrowAndChildren" presStyleCnt="0"/>
      <dgm:spPr/>
    </dgm:pt>
    <dgm:pt modelId="{3FC88701-40F5-4F5C-8C4A-985CFF899C3B}" type="pres">
      <dgm:prSet presAssocID="{9404D1F3-1684-4201-B988-B233CDB7D2FC}" presName="parentTextArrow" presStyleLbl="node1" presStyleIdx="1" presStyleCnt="4"/>
      <dgm:spPr/>
    </dgm:pt>
    <dgm:pt modelId="{C456AF82-E122-4953-A92F-AB53DC015371}" type="pres">
      <dgm:prSet presAssocID="{9404D1F3-1684-4201-B988-B233CDB7D2FC}" presName="arrow" presStyleLbl="node1" presStyleIdx="2" presStyleCnt="4"/>
      <dgm:spPr/>
    </dgm:pt>
    <dgm:pt modelId="{6EFEC967-D1E9-4B0F-92A2-3D51710D445E}" type="pres">
      <dgm:prSet presAssocID="{9404D1F3-1684-4201-B988-B233CDB7D2FC}" presName="descendantArrow" presStyleCnt="0"/>
      <dgm:spPr/>
    </dgm:pt>
    <dgm:pt modelId="{1A7C2F83-4D6F-41EF-A0B3-1408282C9E7D}" type="pres">
      <dgm:prSet presAssocID="{7585479F-5A02-4711-8FAB-92352752C72C}" presName="childTextArrow" presStyleLbl="fgAccFollowNode1" presStyleIdx="6" presStyleCnt="10">
        <dgm:presLayoutVars>
          <dgm:bulletEnabled val="1"/>
        </dgm:presLayoutVars>
      </dgm:prSet>
      <dgm:spPr/>
    </dgm:pt>
    <dgm:pt modelId="{CA44A7B3-8576-44B2-9C8A-2501523BE836}" type="pres">
      <dgm:prSet presAssocID="{13B72904-AA57-4B08-8B4A-78B0368CF097}" presName="childTextArrow" presStyleLbl="fgAccFollowNode1" presStyleIdx="7" presStyleCnt="10">
        <dgm:presLayoutVars>
          <dgm:bulletEnabled val="1"/>
        </dgm:presLayoutVars>
      </dgm:prSet>
      <dgm:spPr/>
    </dgm:pt>
    <dgm:pt modelId="{3561DD9D-D4CA-42A7-87EC-EAC7DB2C9E51}" type="pres">
      <dgm:prSet presAssocID="{DDE033B4-5A0E-401D-B264-3784C3C41418}" presName="childTextArrow" presStyleLbl="fgAccFollowNode1" presStyleIdx="8" presStyleCnt="10">
        <dgm:presLayoutVars>
          <dgm:bulletEnabled val="1"/>
        </dgm:presLayoutVars>
      </dgm:prSet>
      <dgm:spPr/>
    </dgm:pt>
    <dgm:pt modelId="{CE438F8E-E12B-4125-BCFA-0F350B1ACE12}" type="pres">
      <dgm:prSet presAssocID="{64C0409C-764F-4EEE-A072-162727A765BB}" presName="sp" presStyleCnt="0"/>
      <dgm:spPr/>
    </dgm:pt>
    <dgm:pt modelId="{02F2C278-4126-4994-9ADE-9D50AB1E7EE6}" type="pres">
      <dgm:prSet presAssocID="{D478196F-2225-4B34-9211-2810EC9144F9}" presName="arrowAndChildren" presStyleCnt="0"/>
      <dgm:spPr/>
    </dgm:pt>
    <dgm:pt modelId="{E1694023-8F1D-44A5-AA92-B8A6D54F1E7D}" type="pres">
      <dgm:prSet presAssocID="{D478196F-2225-4B34-9211-2810EC9144F9}" presName="parentTextArrow" presStyleLbl="node1" presStyleIdx="2" presStyleCnt="4"/>
      <dgm:spPr/>
    </dgm:pt>
    <dgm:pt modelId="{6DC6E014-F030-4F1E-9910-B52561F7E3E5}" type="pres">
      <dgm:prSet presAssocID="{D478196F-2225-4B34-9211-2810EC9144F9}" presName="arrow" presStyleLbl="node1" presStyleIdx="3" presStyleCnt="4"/>
      <dgm:spPr/>
    </dgm:pt>
    <dgm:pt modelId="{A76AA284-1DD0-4F8C-A053-C4EC7B4091B9}" type="pres">
      <dgm:prSet presAssocID="{D478196F-2225-4B34-9211-2810EC9144F9}" presName="descendantArrow" presStyleCnt="0"/>
      <dgm:spPr/>
    </dgm:pt>
    <dgm:pt modelId="{1738E0D7-BB98-47AF-B327-940A93180365}" type="pres">
      <dgm:prSet presAssocID="{4CC8E0A0-BEF2-43F9-8123-F850C16C2560}" presName="childTextArrow" presStyleLbl="fgAccFollowNode1" presStyleIdx="9" presStyleCnt="10">
        <dgm:presLayoutVars>
          <dgm:bulletEnabled val="1"/>
        </dgm:presLayoutVars>
      </dgm:prSet>
      <dgm:spPr/>
    </dgm:pt>
  </dgm:ptLst>
  <dgm:cxnLst>
    <dgm:cxn modelId="{38C26D05-8F27-49BD-A319-8D33ECF864AD}" srcId="{FB7BDDE5-1E3A-4DFC-9393-7AA7E4458D59}" destId="{D478196F-2225-4B34-9211-2810EC9144F9}" srcOrd="0" destOrd="0" parTransId="{93C803FE-E322-42FD-A42A-AF6D2FA29804}" sibTransId="{64C0409C-764F-4EEE-A072-162727A765BB}"/>
    <dgm:cxn modelId="{96DE5A2C-69B0-42F6-8CEA-15C8780FC27A}" type="presOf" srcId="{4CC8E0A0-BEF2-43F9-8123-F850C16C2560}" destId="{1738E0D7-BB98-47AF-B327-940A93180365}" srcOrd="0" destOrd="0" presId="urn:microsoft.com/office/officeart/2005/8/layout/process4"/>
    <dgm:cxn modelId="{0A539230-266F-427A-A274-E7DCCBA979DD}" type="presOf" srcId="{9404D1F3-1684-4201-B988-B233CDB7D2FC}" destId="{3FC88701-40F5-4F5C-8C4A-985CFF899C3B}" srcOrd="0" destOrd="0" presId="urn:microsoft.com/office/officeart/2005/8/layout/process4"/>
    <dgm:cxn modelId="{93100238-2719-44EE-938D-CCB73B937C76}" type="presOf" srcId="{28AD9734-DCB1-4926-9624-BB4F5D274EB3}" destId="{9EE42C5F-561D-41A2-A350-030F911960A2}" srcOrd="0" destOrd="0" presId="urn:microsoft.com/office/officeart/2005/8/layout/process4"/>
    <dgm:cxn modelId="{D9F9D338-1F06-40CD-944B-4D47D0893FEE}" type="presOf" srcId="{B52BF119-23ED-4865-B192-1DE59EABC5E7}" destId="{6CB0B658-73AC-4C41-9EE8-82866DA21EEE}" srcOrd="0" destOrd="0" presId="urn:microsoft.com/office/officeart/2005/8/layout/process4"/>
    <dgm:cxn modelId="{3A69C04E-B991-4B36-B199-CEE07379CF25}" type="presOf" srcId="{D478196F-2225-4B34-9211-2810EC9144F9}" destId="{6DC6E014-F030-4F1E-9910-B52561F7E3E5}" srcOrd="1" destOrd="0" presId="urn:microsoft.com/office/officeart/2005/8/layout/process4"/>
    <dgm:cxn modelId="{36DFB659-C7EC-4999-BD9C-C968F8BA5E8D}" type="presOf" srcId="{B52BF119-23ED-4865-B192-1DE59EABC5E7}" destId="{D0F93EB8-7C5A-4CE4-91F5-6FBB1E8DBB68}" srcOrd="1" destOrd="0" presId="urn:microsoft.com/office/officeart/2005/8/layout/process4"/>
    <dgm:cxn modelId="{28753F63-C706-441F-AA7D-6889DCF7548B}" type="presOf" srcId="{DDE033B4-5A0E-401D-B264-3784C3C41418}" destId="{3561DD9D-D4CA-42A7-87EC-EAC7DB2C9E51}" srcOrd="0" destOrd="0" presId="urn:microsoft.com/office/officeart/2005/8/layout/process4"/>
    <dgm:cxn modelId="{611BE96A-0BF9-4FBF-8A10-ECCA48EFDE93}" srcId="{FB7BDDE5-1E3A-4DFC-9393-7AA7E4458D59}" destId="{9404D1F3-1684-4201-B988-B233CDB7D2FC}" srcOrd="1" destOrd="0" parTransId="{8C21DF70-30CF-4312-950D-B270014A21ED}" sibTransId="{09E449EF-FDE2-43FF-9271-88AB55347AF4}"/>
    <dgm:cxn modelId="{42FF036D-33AF-4C35-A1B9-E6B306020177}" srcId="{9404D1F3-1684-4201-B988-B233CDB7D2FC}" destId="{13B72904-AA57-4B08-8B4A-78B0368CF097}" srcOrd="1" destOrd="0" parTransId="{EE237AE2-713C-482C-BA6C-623FBF927FDF}" sibTransId="{2FC3F637-4142-41C7-8EE7-5E15FC2BA3D9}"/>
    <dgm:cxn modelId="{55756F6F-F402-40E5-BAB1-E65F1CFFCD8E}" type="presOf" srcId="{A44BAC95-A4FB-45F8-9990-A65BBB65385E}" destId="{289B29F1-D10C-4718-93BB-60FB4BE92F84}" srcOrd="0" destOrd="0" presId="urn:microsoft.com/office/officeart/2005/8/layout/process4"/>
    <dgm:cxn modelId="{11028777-984C-458A-B0E4-B6FE06BAB661}" srcId="{FB7BDDE5-1E3A-4DFC-9393-7AA7E4458D59}" destId="{F88DA01A-A4E4-4AED-B8AE-A35FCE882AE6}" srcOrd="2" destOrd="0" parTransId="{EE37CBD5-B2E4-4692-868A-9EC4B4582901}" sibTransId="{444AC89B-383D-4D6C-9AED-D2D6DE409C09}"/>
    <dgm:cxn modelId="{5504107B-79BC-4146-9F8F-C00EC5897DC6}" type="presOf" srcId="{164AB011-ECB0-4C47-8B5F-AB2AAC363FFA}" destId="{528EC6D6-4C82-46A9-B252-FE1E11055775}" srcOrd="0" destOrd="0" presId="urn:microsoft.com/office/officeart/2005/8/layout/process4"/>
    <dgm:cxn modelId="{85103695-D803-4854-8F57-C9178E162990}" srcId="{FB7BDDE5-1E3A-4DFC-9393-7AA7E4458D59}" destId="{B52BF119-23ED-4865-B192-1DE59EABC5E7}" srcOrd="3" destOrd="0" parTransId="{9488B2A3-42F7-4AAE-9A73-DF5961CA2D41}" sibTransId="{CBB45F12-9B53-4319-8A35-D451B4381A5F}"/>
    <dgm:cxn modelId="{0C88D5A9-8911-4B44-A845-30E460189E04}" type="presOf" srcId="{F88DA01A-A4E4-4AED-B8AE-A35FCE882AE6}" destId="{31553404-6395-4ABE-9A1E-DB713DDD7FDA}" srcOrd="0" destOrd="0" presId="urn:microsoft.com/office/officeart/2005/8/layout/process4"/>
    <dgm:cxn modelId="{81B49CB3-19D3-407A-91D5-B8CABDA24A93}" type="presOf" srcId="{9404D1F3-1684-4201-B988-B233CDB7D2FC}" destId="{C456AF82-E122-4953-A92F-AB53DC015371}" srcOrd="1" destOrd="0" presId="urn:microsoft.com/office/officeart/2005/8/layout/process4"/>
    <dgm:cxn modelId="{03A6C5B5-2905-4C9B-8F48-25E7A86FB73D}" type="presOf" srcId="{7585479F-5A02-4711-8FAB-92352752C72C}" destId="{1A7C2F83-4D6F-41EF-A0B3-1408282C9E7D}" srcOrd="0" destOrd="0" presId="urn:microsoft.com/office/officeart/2005/8/layout/process4"/>
    <dgm:cxn modelId="{677ECABB-B497-403C-A71D-7F3463A233B2}" srcId="{9404D1F3-1684-4201-B988-B233CDB7D2FC}" destId="{DDE033B4-5A0E-401D-B264-3784C3C41418}" srcOrd="2" destOrd="0" parTransId="{70057517-5739-4BF9-900E-3CE7B56D01B2}" sibTransId="{1B607EB3-BAA3-41C8-B1FB-171D57731B51}"/>
    <dgm:cxn modelId="{16644DBD-D00B-4236-B332-2865556F592B}" srcId="{B52BF119-23ED-4865-B192-1DE59EABC5E7}" destId="{28AD9734-DCB1-4926-9624-BB4F5D274EB3}" srcOrd="3" destOrd="0" parTransId="{34F15D16-67A3-4F85-8A6A-84C1330574C1}" sibTransId="{30E76C9C-591A-4B0B-9119-24F965474B83}"/>
    <dgm:cxn modelId="{63E35DC5-3CA2-4935-95EB-94F0786AB808}" srcId="{9404D1F3-1684-4201-B988-B233CDB7D2FC}" destId="{7585479F-5A02-4711-8FAB-92352752C72C}" srcOrd="0" destOrd="0" parTransId="{DE527B14-4228-4783-84F9-1267D3457798}" sibTransId="{C618AE2E-3359-46A7-90F5-3A2986A8D21F}"/>
    <dgm:cxn modelId="{74AB15C6-3C66-4043-A414-E5AE513DD4CB}" type="presOf" srcId="{1B47A5CE-1551-41BB-A15C-2A0A9119083A}" destId="{20785A75-C547-4FA3-A42F-339AD78E55F1}" srcOrd="0" destOrd="0" presId="urn:microsoft.com/office/officeart/2005/8/layout/process4"/>
    <dgm:cxn modelId="{EBB24EC8-8C2D-4D2B-8618-BC7BEE9F9A2B}" srcId="{B52BF119-23ED-4865-B192-1DE59EABC5E7}" destId="{02A77C36-03AE-4DFE-A593-B0587A3EF893}" srcOrd="0" destOrd="0" parTransId="{4F41BF5C-E1A7-427F-8608-9C929837CC4A}" sibTransId="{15119D16-2071-4936-AD61-6A5A9914B14A}"/>
    <dgm:cxn modelId="{386536CD-B598-4F47-A51C-8F0A815A935A}" srcId="{F88DA01A-A4E4-4AED-B8AE-A35FCE882AE6}" destId="{164AB011-ECB0-4C47-8B5F-AB2AAC363FFA}" srcOrd="0" destOrd="0" parTransId="{DA5269C7-D049-4FA9-A366-E9238A14926B}" sibTransId="{00A64C26-D0FF-47EB-A63D-9D36991CC4BD}"/>
    <dgm:cxn modelId="{710806D8-CA9A-47A1-A8D3-14EEE7A35694}" srcId="{B52BF119-23ED-4865-B192-1DE59EABC5E7}" destId="{1B47A5CE-1551-41BB-A15C-2A0A9119083A}" srcOrd="2" destOrd="0" parTransId="{4D757E1B-71ED-4567-9C31-519A91F74EC6}" sibTransId="{8AC51388-36C6-4F4D-AC7F-F1CA1E3BC289}"/>
    <dgm:cxn modelId="{45F05EDA-F4DA-4E68-801A-FE86A0D35BAC}" type="presOf" srcId="{D478196F-2225-4B34-9211-2810EC9144F9}" destId="{E1694023-8F1D-44A5-AA92-B8A6D54F1E7D}" srcOrd="0" destOrd="0" presId="urn:microsoft.com/office/officeart/2005/8/layout/process4"/>
    <dgm:cxn modelId="{EF2D7EE0-2E73-4B39-BB2B-2F1C83EA600C}" type="presOf" srcId="{B83C7106-AF9C-4AE8-A0DA-583DD1BAC39C}" destId="{9D4237D2-0DC2-4360-B76D-0FBC52DBCAD5}" srcOrd="0" destOrd="0" presId="urn:microsoft.com/office/officeart/2005/8/layout/process4"/>
    <dgm:cxn modelId="{564A8EE2-429D-424D-99BF-FA3F13D6DA47}" type="presOf" srcId="{02A77C36-03AE-4DFE-A593-B0587A3EF893}" destId="{E8B3B2F6-3348-436F-AEB6-962657292EDE}" srcOrd="0" destOrd="0" presId="urn:microsoft.com/office/officeart/2005/8/layout/process4"/>
    <dgm:cxn modelId="{57A3EEED-996C-44C7-A3E9-9BF8F3A33D56}" srcId="{D478196F-2225-4B34-9211-2810EC9144F9}" destId="{4CC8E0A0-BEF2-43F9-8123-F850C16C2560}" srcOrd="0" destOrd="0" parTransId="{E6DE9DA9-4EE6-496A-BB5F-0A16EC82E49F}" sibTransId="{28B9A4B8-622B-42DE-91C9-C2D430C42B35}"/>
    <dgm:cxn modelId="{356D23EF-6249-4E07-A611-C30E411B28E7}" srcId="{B52BF119-23ED-4865-B192-1DE59EABC5E7}" destId="{B83C7106-AF9C-4AE8-A0DA-583DD1BAC39C}" srcOrd="1" destOrd="0" parTransId="{8DBDB3C6-96F0-4AAF-8432-FC445EAC0A79}" sibTransId="{95277322-5F6F-40BB-9721-8E8E1E9DC102}"/>
    <dgm:cxn modelId="{1D1141F2-6B40-4DAE-AD72-D068FDA02ADE}" type="presOf" srcId="{FB7BDDE5-1E3A-4DFC-9393-7AA7E4458D59}" destId="{91DAB18E-CFDC-4CA9-8B80-678EEE1DA36E}" srcOrd="0" destOrd="0" presId="urn:microsoft.com/office/officeart/2005/8/layout/process4"/>
    <dgm:cxn modelId="{4E94C3F3-606A-4F5B-8B32-EB9431AC5E31}" type="presOf" srcId="{F88DA01A-A4E4-4AED-B8AE-A35FCE882AE6}" destId="{1BD30136-FBF0-4008-82A8-9E5432D0A186}" srcOrd="1" destOrd="0" presId="urn:microsoft.com/office/officeart/2005/8/layout/process4"/>
    <dgm:cxn modelId="{C68FDEF8-FD27-468A-9D48-3264FCD18D0C}" type="presOf" srcId="{13B72904-AA57-4B08-8B4A-78B0368CF097}" destId="{CA44A7B3-8576-44B2-9C8A-2501523BE836}" srcOrd="0" destOrd="0" presId="urn:microsoft.com/office/officeart/2005/8/layout/process4"/>
    <dgm:cxn modelId="{723782FB-E493-460C-9162-D444A632092A}" srcId="{B52BF119-23ED-4865-B192-1DE59EABC5E7}" destId="{A44BAC95-A4FB-45F8-9990-A65BBB65385E}" srcOrd="4" destOrd="0" parTransId="{1E3B059B-DC0C-4C35-B675-82C302371FF1}" sibTransId="{73C13AC5-A502-476C-8942-6974BCC43BC6}"/>
    <dgm:cxn modelId="{50BE8B8C-24E9-46EF-97B7-5010E64F0971}" type="presParOf" srcId="{91DAB18E-CFDC-4CA9-8B80-678EEE1DA36E}" destId="{3BCC3BA9-AF1D-4ECE-8C0D-F27FAB1AA3CC}" srcOrd="0" destOrd="0" presId="urn:microsoft.com/office/officeart/2005/8/layout/process4"/>
    <dgm:cxn modelId="{E1FDB0A7-CEF3-43D7-9A38-3FA0560AF4AA}" type="presParOf" srcId="{3BCC3BA9-AF1D-4ECE-8C0D-F27FAB1AA3CC}" destId="{6CB0B658-73AC-4C41-9EE8-82866DA21EEE}" srcOrd="0" destOrd="0" presId="urn:microsoft.com/office/officeart/2005/8/layout/process4"/>
    <dgm:cxn modelId="{F3009956-2C9C-4051-A8FA-291064717E21}" type="presParOf" srcId="{3BCC3BA9-AF1D-4ECE-8C0D-F27FAB1AA3CC}" destId="{D0F93EB8-7C5A-4CE4-91F5-6FBB1E8DBB68}" srcOrd="1" destOrd="0" presId="urn:microsoft.com/office/officeart/2005/8/layout/process4"/>
    <dgm:cxn modelId="{613C3CDD-84F4-46BD-BFD4-FA877FF57D91}" type="presParOf" srcId="{3BCC3BA9-AF1D-4ECE-8C0D-F27FAB1AA3CC}" destId="{9AF27312-5F37-4B25-8B80-57355B3F7D48}" srcOrd="2" destOrd="0" presId="urn:microsoft.com/office/officeart/2005/8/layout/process4"/>
    <dgm:cxn modelId="{D3383625-3E99-4BBF-B7F7-1F921F8284D5}" type="presParOf" srcId="{9AF27312-5F37-4B25-8B80-57355B3F7D48}" destId="{E8B3B2F6-3348-436F-AEB6-962657292EDE}" srcOrd="0" destOrd="0" presId="urn:microsoft.com/office/officeart/2005/8/layout/process4"/>
    <dgm:cxn modelId="{23264F24-8535-459F-B965-B702EB5211E1}" type="presParOf" srcId="{9AF27312-5F37-4B25-8B80-57355B3F7D48}" destId="{9D4237D2-0DC2-4360-B76D-0FBC52DBCAD5}" srcOrd="1" destOrd="0" presId="urn:microsoft.com/office/officeart/2005/8/layout/process4"/>
    <dgm:cxn modelId="{76845160-B2A3-44DB-916A-2B673C08C518}" type="presParOf" srcId="{9AF27312-5F37-4B25-8B80-57355B3F7D48}" destId="{20785A75-C547-4FA3-A42F-339AD78E55F1}" srcOrd="2" destOrd="0" presId="urn:microsoft.com/office/officeart/2005/8/layout/process4"/>
    <dgm:cxn modelId="{12325CAC-8458-4303-B4DF-13813073DB01}" type="presParOf" srcId="{9AF27312-5F37-4B25-8B80-57355B3F7D48}" destId="{9EE42C5F-561D-41A2-A350-030F911960A2}" srcOrd="3" destOrd="0" presId="urn:microsoft.com/office/officeart/2005/8/layout/process4"/>
    <dgm:cxn modelId="{B75737E2-05F0-454B-9141-6BA0EED81705}" type="presParOf" srcId="{9AF27312-5F37-4B25-8B80-57355B3F7D48}" destId="{289B29F1-D10C-4718-93BB-60FB4BE92F84}" srcOrd="4" destOrd="0" presId="urn:microsoft.com/office/officeart/2005/8/layout/process4"/>
    <dgm:cxn modelId="{5AC2B14E-98AB-4DD2-B096-9B89902AA7B6}" type="presParOf" srcId="{91DAB18E-CFDC-4CA9-8B80-678EEE1DA36E}" destId="{8E0E470D-AAE1-4533-A9E3-40DB41798189}" srcOrd="1" destOrd="0" presId="urn:microsoft.com/office/officeart/2005/8/layout/process4"/>
    <dgm:cxn modelId="{F4F6A265-9BBF-47F6-BA5F-02A34D366470}" type="presParOf" srcId="{91DAB18E-CFDC-4CA9-8B80-678EEE1DA36E}" destId="{090F06B0-846C-4995-9B9B-E811C61897BB}" srcOrd="2" destOrd="0" presId="urn:microsoft.com/office/officeart/2005/8/layout/process4"/>
    <dgm:cxn modelId="{DED06CDF-AFCE-4807-A76E-B9C778F8F3AB}" type="presParOf" srcId="{090F06B0-846C-4995-9B9B-E811C61897BB}" destId="{31553404-6395-4ABE-9A1E-DB713DDD7FDA}" srcOrd="0" destOrd="0" presId="urn:microsoft.com/office/officeart/2005/8/layout/process4"/>
    <dgm:cxn modelId="{4300CBDF-A49F-4B5F-AABA-31FBDDC88DAE}" type="presParOf" srcId="{090F06B0-846C-4995-9B9B-E811C61897BB}" destId="{1BD30136-FBF0-4008-82A8-9E5432D0A186}" srcOrd="1" destOrd="0" presId="urn:microsoft.com/office/officeart/2005/8/layout/process4"/>
    <dgm:cxn modelId="{EB9B3DEA-9A32-4911-B47E-03C10173C64C}" type="presParOf" srcId="{090F06B0-846C-4995-9B9B-E811C61897BB}" destId="{0EF00378-E345-4DEC-99C7-2FB228AC0CCC}" srcOrd="2" destOrd="0" presId="urn:microsoft.com/office/officeart/2005/8/layout/process4"/>
    <dgm:cxn modelId="{5A2537AD-00C8-4E00-85B3-A71449C0D3CC}" type="presParOf" srcId="{0EF00378-E345-4DEC-99C7-2FB228AC0CCC}" destId="{528EC6D6-4C82-46A9-B252-FE1E11055775}" srcOrd="0" destOrd="0" presId="urn:microsoft.com/office/officeart/2005/8/layout/process4"/>
    <dgm:cxn modelId="{DD2BCB62-3889-41F0-8F5C-2B6E6F55C9BA}" type="presParOf" srcId="{91DAB18E-CFDC-4CA9-8B80-678EEE1DA36E}" destId="{142DF393-13F1-4593-99DB-C26A52EE3A7B}" srcOrd="3" destOrd="0" presId="urn:microsoft.com/office/officeart/2005/8/layout/process4"/>
    <dgm:cxn modelId="{577A9A36-7E08-4C9A-BA99-66DBA34D8EB9}" type="presParOf" srcId="{91DAB18E-CFDC-4CA9-8B80-678EEE1DA36E}" destId="{B0F4AE3C-B473-4221-AD8A-C8025F159A4F}" srcOrd="4" destOrd="0" presId="urn:microsoft.com/office/officeart/2005/8/layout/process4"/>
    <dgm:cxn modelId="{46A1E8CC-AF33-401A-B227-C19E018587E4}" type="presParOf" srcId="{B0F4AE3C-B473-4221-AD8A-C8025F159A4F}" destId="{3FC88701-40F5-4F5C-8C4A-985CFF899C3B}" srcOrd="0" destOrd="0" presId="urn:microsoft.com/office/officeart/2005/8/layout/process4"/>
    <dgm:cxn modelId="{949798D5-C29B-49EF-A7B8-0089132639C9}" type="presParOf" srcId="{B0F4AE3C-B473-4221-AD8A-C8025F159A4F}" destId="{C456AF82-E122-4953-A92F-AB53DC015371}" srcOrd="1" destOrd="0" presId="urn:microsoft.com/office/officeart/2005/8/layout/process4"/>
    <dgm:cxn modelId="{020C0D46-A1F6-4787-89E7-AC71D18D69B1}" type="presParOf" srcId="{B0F4AE3C-B473-4221-AD8A-C8025F159A4F}" destId="{6EFEC967-D1E9-4B0F-92A2-3D51710D445E}" srcOrd="2" destOrd="0" presId="urn:microsoft.com/office/officeart/2005/8/layout/process4"/>
    <dgm:cxn modelId="{A16F29ED-BB7F-4E9E-8D34-494749E66D42}" type="presParOf" srcId="{6EFEC967-D1E9-4B0F-92A2-3D51710D445E}" destId="{1A7C2F83-4D6F-41EF-A0B3-1408282C9E7D}" srcOrd="0" destOrd="0" presId="urn:microsoft.com/office/officeart/2005/8/layout/process4"/>
    <dgm:cxn modelId="{3AF3F8F7-486F-4323-BFAE-89CE6FC4D691}" type="presParOf" srcId="{6EFEC967-D1E9-4B0F-92A2-3D51710D445E}" destId="{CA44A7B3-8576-44B2-9C8A-2501523BE836}" srcOrd="1" destOrd="0" presId="urn:microsoft.com/office/officeart/2005/8/layout/process4"/>
    <dgm:cxn modelId="{5AACC4A5-7323-422E-B430-54DCFD802A5F}" type="presParOf" srcId="{6EFEC967-D1E9-4B0F-92A2-3D51710D445E}" destId="{3561DD9D-D4CA-42A7-87EC-EAC7DB2C9E51}" srcOrd="2" destOrd="0" presId="urn:microsoft.com/office/officeart/2005/8/layout/process4"/>
    <dgm:cxn modelId="{94421203-708E-4CDB-BDCF-0C0A9F9C547E}" type="presParOf" srcId="{91DAB18E-CFDC-4CA9-8B80-678EEE1DA36E}" destId="{CE438F8E-E12B-4125-BCFA-0F350B1ACE12}" srcOrd="5" destOrd="0" presId="urn:microsoft.com/office/officeart/2005/8/layout/process4"/>
    <dgm:cxn modelId="{5748A8A9-3335-4ED4-BA23-5408B5E520C4}" type="presParOf" srcId="{91DAB18E-CFDC-4CA9-8B80-678EEE1DA36E}" destId="{02F2C278-4126-4994-9ADE-9D50AB1E7EE6}" srcOrd="6" destOrd="0" presId="urn:microsoft.com/office/officeart/2005/8/layout/process4"/>
    <dgm:cxn modelId="{748D1DD1-CA26-4EB6-A8CC-81B0F3E5A98C}" type="presParOf" srcId="{02F2C278-4126-4994-9ADE-9D50AB1E7EE6}" destId="{E1694023-8F1D-44A5-AA92-B8A6D54F1E7D}" srcOrd="0" destOrd="0" presId="urn:microsoft.com/office/officeart/2005/8/layout/process4"/>
    <dgm:cxn modelId="{7F0411AB-894A-45AC-8F02-FA47AF52DF4E}" type="presParOf" srcId="{02F2C278-4126-4994-9ADE-9D50AB1E7EE6}" destId="{6DC6E014-F030-4F1E-9910-B52561F7E3E5}" srcOrd="1" destOrd="0" presId="urn:microsoft.com/office/officeart/2005/8/layout/process4"/>
    <dgm:cxn modelId="{D8658968-D142-468A-BDC3-BAB87F772165}" type="presParOf" srcId="{02F2C278-4126-4994-9ADE-9D50AB1E7EE6}" destId="{A76AA284-1DD0-4F8C-A053-C4EC7B4091B9}" srcOrd="2" destOrd="0" presId="urn:microsoft.com/office/officeart/2005/8/layout/process4"/>
    <dgm:cxn modelId="{92580E8C-AF3D-4220-8F77-AEFCDEBBFAFC}" type="presParOf" srcId="{A76AA284-1DD0-4F8C-A053-C4EC7B4091B9}" destId="{1738E0D7-BB98-47AF-B327-940A93180365}" srcOrd="0" destOrd="0" presId="urn:microsoft.com/office/officeart/2005/8/layout/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3360A374-4032-4CCD-9AF8-B762C9382521}" type="doc">
      <dgm:prSet loTypeId="urn:microsoft.com/office/officeart/2005/8/layout/lProcess3" loCatId="process" qsTypeId="urn:microsoft.com/office/officeart/2005/8/quickstyle/simple1" qsCatId="simple" csTypeId="urn:microsoft.com/office/officeart/2005/8/colors/accent1_2" csCatId="accent1" phldr="1"/>
      <dgm:spPr/>
      <dgm:t>
        <a:bodyPr/>
        <a:lstStyle/>
        <a:p>
          <a:endParaRPr lang="en-GB"/>
        </a:p>
      </dgm:t>
    </dgm:pt>
    <dgm:pt modelId="{9947B03C-A861-43C0-B7D6-F3D17D980655}">
      <dgm:prSet/>
      <dgm:spPr/>
      <dgm:t>
        <a:bodyPr/>
        <a:lstStyle/>
        <a:p>
          <a:r>
            <a:rPr lang="en-GB" dirty="0"/>
            <a:t>A strong evidence base</a:t>
          </a:r>
        </a:p>
      </dgm:t>
      <dgm:extLst>
        <a:ext uri="{E40237B7-FDA0-4F09-8148-C483321AD2D9}">
          <dgm14:cNvPr xmlns:dgm14="http://schemas.microsoft.com/office/drawing/2010/diagram" id="0" name="" descr="SmartArt with text:&#10;A strong evidence base&#13;&#10;- varies by condition area&#13;&#10;- system pressures: supported for COPD, less for diabetes, not for MSK&#13;&#10;- strong clinical outcomes for diabetes&#13;&#10;- support for healthcare impact for all conditions via indirect routes&#13;&#10;A key role in improving healthcare&#13;&#10;- many positive outcomes for all conditions&#13;&#10;- improvement via understanding, support, empowerment, feeling in control&#13;&#10;Aligned to a high priority area for the NHS&#13;&#10;- not really aligned with policy priorities&#13;&#10;- argument for deep dive and further research&#13;&#10;High impact to current priorities&#13;&#10;- SSM can reduce hospital admissions for COPD and diabetes&#13;&#10;"/>
        </a:ext>
      </dgm:extLst>
    </dgm:pt>
    <dgm:pt modelId="{55B036B4-C03B-45BE-B40F-A33ACBF42F69}" type="parTrans" cxnId="{98F12FA7-7406-4291-ADC9-FA2D8DBAE408}">
      <dgm:prSet/>
      <dgm:spPr/>
      <dgm:t>
        <a:bodyPr/>
        <a:lstStyle/>
        <a:p>
          <a:endParaRPr lang="en-GB"/>
        </a:p>
      </dgm:t>
    </dgm:pt>
    <dgm:pt modelId="{F89D3031-24EE-4566-92AF-7E03BD4F7211}" type="sibTrans" cxnId="{98F12FA7-7406-4291-ADC9-FA2D8DBAE408}">
      <dgm:prSet/>
      <dgm:spPr/>
      <dgm:t>
        <a:bodyPr/>
        <a:lstStyle/>
        <a:p>
          <a:endParaRPr lang="en-GB"/>
        </a:p>
      </dgm:t>
    </dgm:pt>
    <dgm:pt modelId="{F5B25A35-CACC-4CCE-8E9B-870B08583D30}">
      <dgm:prSet/>
      <dgm:spPr/>
      <dgm:t>
        <a:bodyPr/>
        <a:lstStyle/>
        <a:p>
          <a:r>
            <a:rPr lang="en-GB" dirty="0"/>
            <a:t>varies by condition area</a:t>
          </a:r>
        </a:p>
      </dgm:t>
      <dgm:extLst>
        <a:ext uri="{E40237B7-FDA0-4F09-8148-C483321AD2D9}">
          <dgm14:cNvPr xmlns:dgm14="http://schemas.microsoft.com/office/drawing/2010/diagram" id="0" name="" descr="SmartArt with text:&#10;A strong evidence base&#13;&#10;- varies by condition area&#13;&#10;- system pressures: supported for COPD, less for diabetes, not for MSK&#13;&#10;- strong clinical outcomes for diabetes&#13;&#10;- support for healthcare impact for all conditions via indirect routes&#13;&#10;A key role in improving healthcare&#13;&#10;- many positive outcomes for all conditions&#13;&#10;- improvement via understanding, support, empowerment, feeling in control&#13;&#10;Aligned to a high priority area for the NHS&#13;&#10;- not really aligned with policy priorities&#13;&#10;- argument for deep dive and further research&#13;&#10;High impact to current priorities&#13;&#10;- SSM can reduce hospital admissions for COPD and diabetes&#13;&#10;"/>
        </a:ext>
      </dgm:extLst>
    </dgm:pt>
    <dgm:pt modelId="{62BCDDF5-4E77-485F-AFF1-F4BC5FBB8BAD}" type="parTrans" cxnId="{90BD2946-85AE-4BCB-995A-059C763ABBDD}">
      <dgm:prSet/>
      <dgm:spPr/>
      <dgm:t>
        <a:bodyPr/>
        <a:lstStyle/>
        <a:p>
          <a:endParaRPr lang="en-GB"/>
        </a:p>
      </dgm:t>
    </dgm:pt>
    <dgm:pt modelId="{1A22D835-D649-4F93-9A4B-39666E8AAD02}" type="sibTrans" cxnId="{90BD2946-85AE-4BCB-995A-059C763ABBDD}">
      <dgm:prSet/>
      <dgm:spPr/>
      <dgm:t>
        <a:bodyPr/>
        <a:lstStyle/>
        <a:p>
          <a:endParaRPr lang="en-GB"/>
        </a:p>
      </dgm:t>
    </dgm:pt>
    <dgm:pt modelId="{EE2DFCED-81D4-48F9-9103-B29FAA6E87E4}">
      <dgm:prSet/>
      <dgm:spPr/>
      <dgm:t>
        <a:bodyPr/>
        <a:lstStyle/>
        <a:p>
          <a:r>
            <a:rPr lang="en-GB" dirty="0"/>
            <a:t>system pressures: supported for COPD, less for diabetes, not for MSK</a:t>
          </a:r>
        </a:p>
      </dgm:t>
      <dgm:extLst>
        <a:ext uri="{E40237B7-FDA0-4F09-8148-C483321AD2D9}">
          <dgm14:cNvPr xmlns:dgm14="http://schemas.microsoft.com/office/drawing/2010/diagram" id="0" name="" descr="SmartArt with text:&#10;A strong evidence base&#13;&#10;- varies by condition area&#13;&#10;- system pressures: supported for COPD, less for diabetes, not for MSK&#13;&#10;- strong clinical outcomes for diabetes&#13;&#10;- support for healthcare impact for all conditions via indirect routes&#13;&#10;A key role in improving healthcare&#13;&#10;- many positive outcomes for all conditions&#13;&#10;- improvement via understanding, support, empowerment, feeling in control&#13;&#10;Aligned to a high priority area for the NHS&#13;&#10;- not really aligned with policy priorities&#13;&#10;- argument for deep dive and further research&#13;&#10;High impact to current priorities&#13;&#10;- SSM can reduce hospital admissions for COPD and diabetes&#13;&#10;"/>
        </a:ext>
      </dgm:extLst>
    </dgm:pt>
    <dgm:pt modelId="{156B9FE4-402A-46BD-8188-150204204851}" type="parTrans" cxnId="{61FE8936-A4B4-4D69-A1AA-B2B995AE22E3}">
      <dgm:prSet/>
      <dgm:spPr/>
      <dgm:t>
        <a:bodyPr/>
        <a:lstStyle/>
        <a:p>
          <a:endParaRPr lang="en-GB"/>
        </a:p>
      </dgm:t>
    </dgm:pt>
    <dgm:pt modelId="{7CD3B695-6876-4D58-8ADB-B9F599C37345}" type="sibTrans" cxnId="{61FE8936-A4B4-4D69-A1AA-B2B995AE22E3}">
      <dgm:prSet/>
      <dgm:spPr/>
      <dgm:t>
        <a:bodyPr/>
        <a:lstStyle/>
        <a:p>
          <a:endParaRPr lang="en-GB"/>
        </a:p>
      </dgm:t>
    </dgm:pt>
    <dgm:pt modelId="{01B1DE2A-4A87-4396-A485-B13528A38FD6}">
      <dgm:prSet/>
      <dgm:spPr/>
      <dgm:t>
        <a:bodyPr/>
        <a:lstStyle/>
        <a:p>
          <a:r>
            <a:rPr lang="en-GB" dirty="0"/>
            <a:t>strong clinical outcomes for diabetes</a:t>
          </a:r>
        </a:p>
      </dgm:t>
      <dgm:extLst>
        <a:ext uri="{E40237B7-FDA0-4F09-8148-C483321AD2D9}">
          <dgm14:cNvPr xmlns:dgm14="http://schemas.microsoft.com/office/drawing/2010/diagram" id="0" name="" descr="SmartArt with text:&#10;A strong evidence base&#13;&#10;- varies by condition area&#13;&#10;- system pressures: supported for COPD, less for diabetes, not for MSK&#13;&#10;- strong clinical outcomes for diabetes&#13;&#10;- support for healthcare impact for all conditions via indirect routes&#13;&#10;A key role in improving healthcare&#13;&#10;- many positive outcomes for all conditions&#13;&#10;- improvement via understanding, support, empowerment, feeling in control&#13;&#10;Aligned to a high priority area for the NHS&#13;&#10;- not really aligned with policy priorities&#13;&#10;- argument for deep dive and further research&#13;&#10;High impact to current priorities&#13;&#10;- SSM can reduce hospital admissions for COPD and diabetes&#13;&#10;"/>
        </a:ext>
      </dgm:extLst>
    </dgm:pt>
    <dgm:pt modelId="{BD69C8DB-22CF-41D1-955F-82C1AAF9B6DB}" type="parTrans" cxnId="{E1FC2311-6731-472C-88D2-4EA337489532}">
      <dgm:prSet/>
      <dgm:spPr/>
      <dgm:t>
        <a:bodyPr/>
        <a:lstStyle/>
        <a:p>
          <a:endParaRPr lang="en-GB"/>
        </a:p>
      </dgm:t>
    </dgm:pt>
    <dgm:pt modelId="{986A7CBA-28E2-4AA1-AA7C-CC1B30F64282}" type="sibTrans" cxnId="{E1FC2311-6731-472C-88D2-4EA337489532}">
      <dgm:prSet/>
      <dgm:spPr/>
      <dgm:t>
        <a:bodyPr/>
        <a:lstStyle/>
        <a:p>
          <a:endParaRPr lang="en-GB"/>
        </a:p>
      </dgm:t>
    </dgm:pt>
    <dgm:pt modelId="{4A331443-79DD-4F17-92F5-5FE60887A288}">
      <dgm:prSet/>
      <dgm:spPr/>
      <dgm:t>
        <a:bodyPr/>
        <a:lstStyle/>
        <a:p>
          <a:r>
            <a:rPr lang="en-GB" dirty="0"/>
            <a:t>support for healthcare impact for all conditions via indirect routes</a:t>
          </a:r>
        </a:p>
      </dgm:t>
      <dgm:extLst>
        <a:ext uri="{E40237B7-FDA0-4F09-8148-C483321AD2D9}">
          <dgm14:cNvPr xmlns:dgm14="http://schemas.microsoft.com/office/drawing/2010/diagram" id="0" name="" descr="SmartArt with text:&#10;A strong evidence base&#13;&#10;- varies by condition area&#13;&#10;- system pressures: supported for COPD, less for diabetes, not for MSK&#13;&#10;- strong clinical outcomes for diabetes&#13;&#10;- support for healthcare impact for all conditions via indirect routes&#13;&#10;A key role in improving healthcare&#13;&#10;- many positive outcomes for all conditions&#13;&#10;- improvement via understanding, support, empowerment, feeling in control&#13;&#10;Aligned to a high priority area for the NHS&#13;&#10;- not really aligned with policy priorities&#13;&#10;- argument for deep dive and further research&#13;&#10;High impact to current priorities&#13;&#10;- SSM can reduce hospital admissions for COPD and diabetes&#13;&#10;"/>
        </a:ext>
      </dgm:extLst>
    </dgm:pt>
    <dgm:pt modelId="{EB2D3A8F-3120-4644-8CC7-3620EC3FD5D8}" type="parTrans" cxnId="{668AE3B6-92D7-4E46-98DB-0AEB7136A8F8}">
      <dgm:prSet/>
      <dgm:spPr/>
      <dgm:t>
        <a:bodyPr/>
        <a:lstStyle/>
        <a:p>
          <a:endParaRPr lang="en-GB"/>
        </a:p>
      </dgm:t>
    </dgm:pt>
    <dgm:pt modelId="{D3C0A934-CA76-48F6-A73A-7A0919B671E9}" type="sibTrans" cxnId="{668AE3B6-92D7-4E46-98DB-0AEB7136A8F8}">
      <dgm:prSet/>
      <dgm:spPr/>
      <dgm:t>
        <a:bodyPr/>
        <a:lstStyle/>
        <a:p>
          <a:endParaRPr lang="en-GB"/>
        </a:p>
      </dgm:t>
    </dgm:pt>
    <dgm:pt modelId="{54DDF0D8-1C34-4C28-95F5-ECDD76EED4AA}">
      <dgm:prSet/>
      <dgm:spPr/>
      <dgm:t>
        <a:bodyPr/>
        <a:lstStyle/>
        <a:p>
          <a:r>
            <a:rPr lang="en-GB" dirty="0"/>
            <a:t>A key role in improving healthcare</a:t>
          </a:r>
        </a:p>
      </dgm:t>
      <dgm:extLst>
        <a:ext uri="{E40237B7-FDA0-4F09-8148-C483321AD2D9}">
          <dgm14:cNvPr xmlns:dgm14="http://schemas.microsoft.com/office/drawing/2010/diagram" id="0" name="" descr="SmartArt with text:&#10;A strong evidence base&#13;&#10;- varies by condition area&#13;&#10;- system pressures: supported for COPD, less for diabetes, not for MSK&#13;&#10;- strong clinical outcomes for diabetes&#13;&#10;- support for healthcare impact for all conditions via indirect routes&#13;&#10;A key role in improving healthcare&#13;&#10;- many positive outcomes for all conditions&#13;&#10;- improvement via understanding, support, empowerment, feeling in control&#13;&#10;Aligned to a high priority area for the NHS&#13;&#10;- not really aligned with policy priorities&#13;&#10;- argument for deep dive and further research&#13;&#10;High impact to current priorities&#13;&#10;- SSM can reduce hospital admissions for COPD and diabetes&#13;&#10;"/>
        </a:ext>
      </dgm:extLst>
    </dgm:pt>
    <dgm:pt modelId="{03C636FB-2267-4748-A08E-1958C4D8F0B2}" type="parTrans" cxnId="{C5C375C7-E319-4F23-83F2-BCF070C9FDC8}">
      <dgm:prSet/>
      <dgm:spPr/>
      <dgm:t>
        <a:bodyPr/>
        <a:lstStyle/>
        <a:p>
          <a:endParaRPr lang="en-GB"/>
        </a:p>
      </dgm:t>
    </dgm:pt>
    <dgm:pt modelId="{49BF88FC-F4FE-4C4A-AE29-C6B8ACBF207A}" type="sibTrans" cxnId="{C5C375C7-E319-4F23-83F2-BCF070C9FDC8}">
      <dgm:prSet/>
      <dgm:spPr/>
      <dgm:t>
        <a:bodyPr/>
        <a:lstStyle/>
        <a:p>
          <a:endParaRPr lang="en-GB"/>
        </a:p>
      </dgm:t>
    </dgm:pt>
    <dgm:pt modelId="{54C739A5-1709-41BC-9FC2-315FB0EF276C}">
      <dgm:prSet/>
      <dgm:spPr/>
      <dgm:t>
        <a:bodyPr/>
        <a:lstStyle/>
        <a:p>
          <a:r>
            <a:rPr lang="en-GB" dirty="0"/>
            <a:t>many positive outcomes for all conditions</a:t>
          </a:r>
        </a:p>
      </dgm:t>
      <dgm:extLst>
        <a:ext uri="{E40237B7-FDA0-4F09-8148-C483321AD2D9}">
          <dgm14:cNvPr xmlns:dgm14="http://schemas.microsoft.com/office/drawing/2010/diagram" id="0" name="" descr="SmartArt with text:&#10;A strong evidence base&#13;&#10;- varies by condition area&#13;&#10;- system pressures: supported for COPD, less for diabetes, not for MSK&#13;&#10;- strong clinical outcomes for diabetes&#13;&#10;- support for healthcare impact for all conditions via indirect routes&#13;&#10;A key role in improving healthcare&#13;&#10;- many positive outcomes for all conditions&#13;&#10;- improvement via understanding, support, empowerment, feeling in control&#13;&#10;Aligned to a high priority area for the NHS&#13;&#10;- not really aligned with policy priorities&#13;&#10;- argument for deep dive and further research&#13;&#10;High impact to current priorities&#13;&#10;- SSM can reduce hospital admissions for COPD and diabetes&#13;&#10;"/>
        </a:ext>
      </dgm:extLst>
    </dgm:pt>
    <dgm:pt modelId="{4D2A903C-1DFB-49A2-B72B-3CCA5F2306BC}" type="parTrans" cxnId="{1463D68E-DB59-4AE7-815F-087395299C89}">
      <dgm:prSet/>
      <dgm:spPr/>
      <dgm:t>
        <a:bodyPr/>
        <a:lstStyle/>
        <a:p>
          <a:endParaRPr lang="en-GB"/>
        </a:p>
      </dgm:t>
    </dgm:pt>
    <dgm:pt modelId="{C27DAC5E-AC9F-4B2B-B575-78ECF7678763}" type="sibTrans" cxnId="{1463D68E-DB59-4AE7-815F-087395299C89}">
      <dgm:prSet/>
      <dgm:spPr/>
      <dgm:t>
        <a:bodyPr/>
        <a:lstStyle/>
        <a:p>
          <a:endParaRPr lang="en-GB"/>
        </a:p>
      </dgm:t>
    </dgm:pt>
    <dgm:pt modelId="{0302BE70-8159-47F8-B087-28F55923D7A2}">
      <dgm:prSet/>
      <dgm:spPr/>
      <dgm:t>
        <a:bodyPr/>
        <a:lstStyle/>
        <a:p>
          <a:r>
            <a:rPr lang="en-GB" dirty="0"/>
            <a:t>improvement via understanding, support, empowerment, feeling in control</a:t>
          </a:r>
        </a:p>
      </dgm:t>
      <dgm:extLst>
        <a:ext uri="{E40237B7-FDA0-4F09-8148-C483321AD2D9}">
          <dgm14:cNvPr xmlns:dgm14="http://schemas.microsoft.com/office/drawing/2010/diagram" id="0" name="" descr="SmartArt with text:&#10;A strong evidence base&#13;&#10;- varies by condition area&#13;&#10;- system pressures: supported for COPD, less for diabetes, not for MSK&#13;&#10;- strong clinical outcomes for diabetes&#13;&#10;- support for healthcare impact for all conditions via indirect routes&#13;&#10;A key role in improving healthcare&#13;&#10;- many positive outcomes for all conditions&#13;&#10;- improvement via understanding, support, empowerment, feeling in control&#13;&#10;Aligned to a high priority area for the NHS&#13;&#10;- not really aligned with policy priorities&#13;&#10;- argument for deep dive and further research&#13;&#10;High impact to current priorities&#13;&#10;- SSM can reduce hospital admissions for COPD and diabetes&#13;&#10;"/>
        </a:ext>
      </dgm:extLst>
    </dgm:pt>
    <dgm:pt modelId="{BEB759BE-0F8F-4A4B-874F-7ACE1864464C}" type="parTrans" cxnId="{B4C7FDFE-ED85-4949-BD90-FA8607D7666E}">
      <dgm:prSet/>
      <dgm:spPr/>
      <dgm:t>
        <a:bodyPr/>
        <a:lstStyle/>
        <a:p>
          <a:endParaRPr lang="en-GB"/>
        </a:p>
      </dgm:t>
    </dgm:pt>
    <dgm:pt modelId="{AB948EC8-8E57-450D-9114-C3648AA42327}" type="sibTrans" cxnId="{B4C7FDFE-ED85-4949-BD90-FA8607D7666E}">
      <dgm:prSet/>
      <dgm:spPr/>
      <dgm:t>
        <a:bodyPr/>
        <a:lstStyle/>
        <a:p>
          <a:endParaRPr lang="en-GB"/>
        </a:p>
      </dgm:t>
    </dgm:pt>
    <dgm:pt modelId="{1CE9BBF0-722B-4CFE-A52B-EB4D26115045}">
      <dgm:prSet/>
      <dgm:spPr/>
      <dgm:t>
        <a:bodyPr/>
        <a:lstStyle/>
        <a:p>
          <a:r>
            <a:rPr lang="en-GB"/>
            <a:t>Aligned to a high priority area for the NHS</a:t>
          </a:r>
        </a:p>
      </dgm:t>
      <dgm:extLst>
        <a:ext uri="{E40237B7-FDA0-4F09-8148-C483321AD2D9}">
          <dgm14:cNvPr xmlns:dgm14="http://schemas.microsoft.com/office/drawing/2010/diagram" id="0" name="" descr="SmartArt with text:&#10;A strong evidence base&#13;&#10;- varies by condition area&#13;&#10;- system pressures: supported for COPD, less for diabetes, not for MSK&#13;&#10;- strong clinical outcomes for diabetes&#13;&#10;- support for healthcare impact for all conditions via indirect routes&#13;&#10;A key role in improving healthcare&#13;&#10;- many positive outcomes for all conditions&#13;&#10;- improvement via understanding, support, empowerment, feeling in control&#13;&#10;Aligned to a high priority area for the NHS&#13;&#10;- not really aligned with policy priorities&#13;&#10;- argument for deep dive and further research&#13;&#10;High impact to current priorities&#13;&#10;- SSM can reduce hospital admissions for COPD and diabetes&#13;&#10;"/>
        </a:ext>
      </dgm:extLst>
    </dgm:pt>
    <dgm:pt modelId="{AF2DD49E-F8C1-4E44-841E-7E8B9F8FA8F3}" type="parTrans" cxnId="{08770C7F-59BE-4AD6-B1F0-2B92514764FE}">
      <dgm:prSet/>
      <dgm:spPr/>
      <dgm:t>
        <a:bodyPr/>
        <a:lstStyle/>
        <a:p>
          <a:endParaRPr lang="en-GB"/>
        </a:p>
      </dgm:t>
    </dgm:pt>
    <dgm:pt modelId="{5F6EFC02-1E58-4331-AA49-C5EC9723FE4F}" type="sibTrans" cxnId="{08770C7F-59BE-4AD6-B1F0-2B92514764FE}">
      <dgm:prSet/>
      <dgm:spPr/>
      <dgm:t>
        <a:bodyPr/>
        <a:lstStyle/>
        <a:p>
          <a:endParaRPr lang="en-GB"/>
        </a:p>
      </dgm:t>
    </dgm:pt>
    <dgm:pt modelId="{25DA5103-B953-46D1-AC23-6EA338504FB4}">
      <dgm:prSet/>
      <dgm:spPr/>
      <dgm:t>
        <a:bodyPr/>
        <a:lstStyle/>
        <a:p>
          <a:r>
            <a:rPr lang="en-GB" dirty="0"/>
            <a:t>not really aligned with policy priorities</a:t>
          </a:r>
        </a:p>
      </dgm:t>
      <dgm:extLst>
        <a:ext uri="{E40237B7-FDA0-4F09-8148-C483321AD2D9}">
          <dgm14:cNvPr xmlns:dgm14="http://schemas.microsoft.com/office/drawing/2010/diagram" id="0" name="" descr="SmartArt with text:&#10;A strong evidence base&#13;&#10;- varies by condition area&#13;&#10;- system pressures: supported for COPD, less for diabetes, not for MSK&#13;&#10;- strong clinical outcomes for diabetes&#13;&#10;- support for healthcare impact for all conditions via indirect routes&#13;&#10;A key role in improving healthcare&#13;&#10;- many positive outcomes for all conditions&#13;&#10;- improvement via understanding, support, empowerment, feeling in control&#13;&#10;Aligned to a high priority area for the NHS&#13;&#10;- not really aligned with policy priorities&#13;&#10;- argument for deep dive and further research&#13;&#10;High impact to current priorities&#13;&#10;- SSM can reduce hospital admissions for COPD and diabetes&#13;&#10;"/>
        </a:ext>
      </dgm:extLst>
    </dgm:pt>
    <dgm:pt modelId="{AF38D44B-9878-4912-BC86-B87D7A12155F}" type="parTrans" cxnId="{AFD36A98-6ED2-411A-A425-FB042F3DEF8C}">
      <dgm:prSet/>
      <dgm:spPr/>
      <dgm:t>
        <a:bodyPr/>
        <a:lstStyle/>
        <a:p>
          <a:endParaRPr lang="en-GB"/>
        </a:p>
      </dgm:t>
    </dgm:pt>
    <dgm:pt modelId="{8BCD4D04-9EED-48F0-8993-DDA5D94923EC}" type="sibTrans" cxnId="{AFD36A98-6ED2-411A-A425-FB042F3DEF8C}">
      <dgm:prSet/>
      <dgm:spPr/>
      <dgm:t>
        <a:bodyPr/>
        <a:lstStyle/>
        <a:p>
          <a:endParaRPr lang="en-GB"/>
        </a:p>
      </dgm:t>
    </dgm:pt>
    <dgm:pt modelId="{7C4A1DE8-3BE3-498E-A1B1-F364A2356AD0}">
      <dgm:prSet/>
      <dgm:spPr/>
      <dgm:t>
        <a:bodyPr/>
        <a:lstStyle/>
        <a:p>
          <a:r>
            <a:rPr lang="en-GB"/>
            <a:t>argument for deep dive and further research</a:t>
          </a:r>
        </a:p>
      </dgm:t>
      <dgm:extLst>
        <a:ext uri="{E40237B7-FDA0-4F09-8148-C483321AD2D9}">
          <dgm14:cNvPr xmlns:dgm14="http://schemas.microsoft.com/office/drawing/2010/diagram" id="0" name="" descr="SmartArt with text:&#10;A strong evidence base&#13;&#10;- varies by condition area&#13;&#10;- system pressures: supported for COPD, less for diabetes, not for MSK&#13;&#10;- strong clinical outcomes for diabetes&#13;&#10;- support for healthcare impact for all conditions via indirect routes&#13;&#10;A key role in improving healthcare&#13;&#10;- many positive outcomes for all conditions&#13;&#10;- improvement via understanding, support, empowerment, feeling in control&#13;&#10;Aligned to a high priority area for the NHS&#13;&#10;- not really aligned with policy priorities&#13;&#10;- argument for deep dive and further research&#13;&#10;High impact to current priorities&#13;&#10;- SSM can reduce hospital admissions for COPD and diabetes&#13;&#10;"/>
        </a:ext>
      </dgm:extLst>
    </dgm:pt>
    <dgm:pt modelId="{7EFBAB74-E81D-441A-8493-7AD6A10314FF}" type="parTrans" cxnId="{DAC03DF9-9793-4041-B050-6985E4550E97}">
      <dgm:prSet/>
      <dgm:spPr/>
      <dgm:t>
        <a:bodyPr/>
        <a:lstStyle/>
        <a:p>
          <a:endParaRPr lang="en-GB"/>
        </a:p>
      </dgm:t>
    </dgm:pt>
    <dgm:pt modelId="{CE0F99AD-1BE0-48BC-8AB7-AF45B5EB96E9}" type="sibTrans" cxnId="{DAC03DF9-9793-4041-B050-6985E4550E97}">
      <dgm:prSet/>
      <dgm:spPr/>
      <dgm:t>
        <a:bodyPr/>
        <a:lstStyle/>
        <a:p>
          <a:endParaRPr lang="en-GB"/>
        </a:p>
      </dgm:t>
    </dgm:pt>
    <dgm:pt modelId="{E8D8FE02-FBB7-4502-B3D4-90826E6EB98B}">
      <dgm:prSet/>
      <dgm:spPr/>
      <dgm:t>
        <a:bodyPr/>
        <a:lstStyle/>
        <a:p>
          <a:r>
            <a:rPr lang="en-GB"/>
            <a:t>High impact to current priorities</a:t>
          </a:r>
        </a:p>
      </dgm:t>
      <dgm:extLst>
        <a:ext uri="{E40237B7-FDA0-4F09-8148-C483321AD2D9}">
          <dgm14:cNvPr xmlns:dgm14="http://schemas.microsoft.com/office/drawing/2010/diagram" id="0" name="" descr="SmartArt with text:&#10;A strong evidence base&#13;&#10;- varies by condition area&#13;&#10;- system pressures: supported for COPD, less for diabetes, not for MSK&#13;&#10;- strong clinical outcomes for diabetes&#13;&#10;- support for healthcare impact for all conditions via indirect routes&#13;&#10;A key role in improving healthcare&#13;&#10;- many positive outcomes for all conditions&#13;&#10;- improvement via understanding, support, empowerment, feeling in control&#13;&#10;Aligned to a high priority area for the NHS&#13;&#10;- not really aligned with policy priorities&#13;&#10;- argument for deep dive and further research&#13;&#10;High impact to current priorities&#13;&#10;- SSM can reduce hospital admissions for COPD and diabetes&#13;&#10;"/>
        </a:ext>
      </dgm:extLst>
    </dgm:pt>
    <dgm:pt modelId="{60659AE6-F352-4B28-8B57-41388C80DE5C}" type="parTrans" cxnId="{F5F2661A-8E5D-421C-BBAD-F51BC56D0205}">
      <dgm:prSet/>
      <dgm:spPr/>
      <dgm:t>
        <a:bodyPr/>
        <a:lstStyle/>
        <a:p>
          <a:endParaRPr lang="en-GB"/>
        </a:p>
      </dgm:t>
    </dgm:pt>
    <dgm:pt modelId="{79F66A27-0D85-4AB4-B992-407EF07F6B04}" type="sibTrans" cxnId="{F5F2661A-8E5D-421C-BBAD-F51BC56D0205}">
      <dgm:prSet/>
      <dgm:spPr/>
      <dgm:t>
        <a:bodyPr/>
        <a:lstStyle/>
        <a:p>
          <a:endParaRPr lang="en-GB"/>
        </a:p>
      </dgm:t>
    </dgm:pt>
    <dgm:pt modelId="{0928BB57-E162-4A11-8DEE-45B5C9E402EE}">
      <dgm:prSet/>
      <dgm:spPr/>
      <dgm:t>
        <a:bodyPr/>
        <a:lstStyle/>
        <a:p>
          <a:r>
            <a:rPr lang="en-GB" dirty="0"/>
            <a:t>SSM can reduce hospital admissions for COPD and diabetes</a:t>
          </a:r>
        </a:p>
      </dgm:t>
      <dgm:extLst>
        <a:ext uri="{E40237B7-FDA0-4F09-8148-C483321AD2D9}">
          <dgm14:cNvPr xmlns:dgm14="http://schemas.microsoft.com/office/drawing/2010/diagram" id="0" name="" descr="SmartArt with text:&#10;A strong evidence base&#13;&#10;- varies by condition area&#13;&#10;- system pressures: supported for COPD, less for diabetes, not for MSK&#13;&#10;- strong clinical outcomes for diabetes&#13;&#10;- support for healthcare impact for all conditions via indirect routes&#13;&#10;A key role in improving healthcare&#13;&#10;- many positive outcomes for all conditions&#13;&#10;- improvement via understanding, support, empowerment, feeling in control&#13;&#10;Aligned to a high priority area for the NHS&#13;&#10;- not really aligned with policy priorities&#13;&#10;- argument for deep dive and further research&#13;&#10;High impact to current priorities&#13;&#10;- SSM can reduce hospital admissions for COPD and diabetes&#13;&#10;"/>
        </a:ext>
      </dgm:extLst>
    </dgm:pt>
    <dgm:pt modelId="{D60B01F9-87A0-41EE-8FA4-E9469ACAAEF6}" type="parTrans" cxnId="{A9BAC214-FFFA-4282-8349-BB451BBEEA77}">
      <dgm:prSet/>
      <dgm:spPr/>
      <dgm:t>
        <a:bodyPr/>
        <a:lstStyle/>
        <a:p>
          <a:endParaRPr lang="en-GB"/>
        </a:p>
      </dgm:t>
    </dgm:pt>
    <dgm:pt modelId="{F5AF7429-DB48-4356-9A3F-5F3767141BA6}" type="sibTrans" cxnId="{A9BAC214-FFFA-4282-8349-BB451BBEEA77}">
      <dgm:prSet/>
      <dgm:spPr/>
      <dgm:t>
        <a:bodyPr/>
        <a:lstStyle/>
        <a:p>
          <a:endParaRPr lang="en-GB"/>
        </a:p>
      </dgm:t>
    </dgm:pt>
    <dgm:pt modelId="{2C1AC9B1-EC03-47AE-AB4A-B8796DAA75D1}" type="pres">
      <dgm:prSet presAssocID="{3360A374-4032-4CCD-9AF8-B762C9382521}" presName="Name0" presStyleCnt="0">
        <dgm:presLayoutVars>
          <dgm:chPref val="3"/>
          <dgm:dir/>
          <dgm:animLvl val="lvl"/>
          <dgm:resizeHandles/>
        </dgm:presLayoutVars>
      </dgm:prSet>
      <dgm:spPr/>
    </dgm:pt>
    <dgm:pt modelId="{75D60DF5-4C1D-4344-AE6D-A85AE6C5C509}" type="pres">
      <dgm:prSet presAssocID="{9947B03C-A861-43C0-B7D6-F3D17D980655}" presName="horFlow" presStyleCnt="0"/>
      <dgm:spPr/>
    </dgm:pt>
    <dgm:pt modelId="{424F08BB-82A7-427A-AC87-3BDFC5DC54D0}" type="pres">
      <dgm:prSet presAssocID="{9947B03C-A861-43C0-B7D6-F3D17D980655}" presName="bigChev" presStyleLbl="node1" presStyleIdx="0" presStyleCnt="4"/>
      <dgm:spPr/>
    </dgm:pt>
    <dgm:pt modelId="{4B9E48D8-A666-431C-BE5B-B346778A1402}" type="pres">
      <dgm:prSet presAssocID="{62BCDDF5-4E77-485F-AFF1-F4BC5FBB8BAD}" presName="parTrans" presStyleCnt="0"/>
      <dgm:spPr/>
    </dgm:pt>
    <dgm:pt modelId="{121D573F-4558-483E-8C4C-F4EC5185EDF9}" type="pres">
      <dgm:prSet presAssocID="{F5B25A35-CACC-4CCE-8E9B-870B08583D30}" presName="node" presStyleLbl="alignAccFollowNode1" presStyleIdx="0" presStyleCnt="9">
        <dgm:presLayoutVars>
          <dgm:bulletEnabled val="1"/>
        </dgm:presLayoutVars>
      </dgm:prSet>
      <dgm:spPr/>
    </dgm:pt>
    <dgm:pt modelId="{9DD18B1D-E7A6-41C2-BD39-729E4B9312CF}" type="pres">
      <dgm:prSet presAssocID="{1A22D835-D649-4F93-9A4B-39666E8AAD02}" presName="sibTrans" presStyleCnt="0"/>
      <dgm:spPr/>
    </dgm:pt>
    <dgm:pt modelId="{B8436C00-E104-4544-85FF-C313F6438564}" type="pres">
      <dgm:prSet presAssocID="{EE2DFCED-81D4-48F9-9103-B29FAA6E87E4}" presName="node" presStyleLbl="alignAccFollowNode1" presStyleIdx="1" presStyleCnt="9">
        <dgm:presLayoutVars>
          <dgm:bulletEnabled val="1"/>
        </dgm:presLayoutVars>
      </dgm:prSet>
      <dgm:spPr/>
    </dgm:pt>
    <dgm:pt modelId="{A9DEA400-30F9-42D6-9AC4-D4BEB0732B3C}" type="pres">
      <dgm:prSet presAssocID="{7CD3B695-6876-4D58-8ADB-B9F599C37345}" presName="sibTrans" presStyleCnt="0"/>
      <dgm:spPr/>
    </dgm:pt>
    <dgm:pt modelId="{D5BC9934-38B5-400B-BA7C-13B4A743DCE7}" type="pres">
      <dgm:prSet presAssocID="{01B1DE2A-4A87-4396-A485-B13528A38FD6}" presName="node" presStyleLbl="alignAccFollowNode1" presStyleIdx="2" presStyleCnt="9">
        <dgm:presLayoutVars>
          <dgm:bulletEnabled val="1"/>
        </dgm:presLayoutVars>
      </dgm:prSet>
      <dgm:spPr/>
    </dgm:pt>
    <dgm:pt modelId="{D233E14F-BBC7-464E-B23E-18F93FCB2958}" type="pres">
      <dgm:prSet presAssocID="{986A7CBA-28E2-4AA1-AA7C-CC1B30F64282}" presName="sibTrans" presStyleCnt="0"/>
      <dgm:spPr/>
    </dgm:pt>
    <dgm:pt modelId="{32C0FCEF-1CB1-4800-B235-2DD56874B56F}" type="pres">
      <dgm:prSet presAssocID="{4A331443-79DD-4F17-92F5-5FE60887A288}" presName="node" presStyleLbl="alignAccFollowNode1" presStyleIdx="3" presStyleCnt="9">
        <dgm:presLayoutVars>
          <dgm:bulletEnabled val="1"/>
        </dgm:presLayoutVars>
      </dgm:prSet>
      <dgm:spPr/>
    </dgm:pt>
    <dgm:pt modelId="{1E56E016-6235-458A-93AB-EC4DAF4F64B4}" type="pres">
      <dgm:prSet presAssocID="{9947B03C-A861-43C0-B7D6-F3D17D980655}" presName="vSp" presStyleCnt="0"/>
      <dgm:spPr/>
    </dgm:pt>
    <dgm:pt modelId="{F4868E34-3876-41CC-988F-A89A8F704113}" type="pres">
      <dgm:prSet presAssocID="{54DDF0D8-1C34-4C28-95F5-ECDD76EED4AA}" presName="horFlow" presStyleCnt="0"/>
      <dgm:spPr/>
    </dgm:pt>
    <dgm:pt modelId="{B8FD9E42-461F-4179-A3D3-F6339FFBC640}" type="pres">
      <dgm:prSet presAssocID="{54DDF0D8-1C34-4C28-95F5-ECDD76EED4AA}" presName="bigChev" presStyleLbl="node1" presStyleIdx="1" presStyleCnt="4"/>
      <dgm:spPr/>
    </dgm:pt>
    <dgm:pt modelId="{F61F3AC8-5DDE-4204-8799-8118B4346A8F}" type="pres">
      <dgm:prSet presAssocID="{4D2A903C-1DFB-49A2-B72B-3CCA5F2306BC}" presName="parTrans" presStyleCnt="0"/>
      <dgm:spPr/>
    </dgm:pt>
    <dgm:pt modelId="{411F87AA-AF6A-4271-99F0-1877B66E6CD6}" type="pres">
      <dgm:prSet presAssocID="{54C739A5-1709-41BC-9FC2-315FB0EF276C}" presName="node" presStyleLbl="alignAccFollowNode1" presStyleIdx="4" presStyleCnt="9">
        <dgm:presLayoutVars>
          <dgm:bulletEnabled val="1"/>
        </dgm:presLayoutVars>
      </dgm:prSet>
      <dgm:spPr/>
    </dgm:pt>
    <dgm:pt modelId="{A83A76A3-4B52-41D2-8AB8-D52A3EB74752}" type="pres">
      <dgm:prSet presAssocID="{C27DAC5E-AC9F-4B2B-B575-78ECF7678763}" presName="sibTrans" presStyleCnt="0"/>
      <dgm:spPr/>
    </dgm:pt>
    <dgm:pt modelId="{C24F9C12-4AA2-4D02-904C-7C7965E0A207}" type="pres">
      <dgm:prSet presAssocID="{0302BE70-8159-47F8-B087-28F55923D7A2}" presName="node" presStyleLbl="alignAccFollowNode1" presStyleIdx="5" presStyleCnt="9">
        <dgm:presLayoutVars>
          <dgm:bulletEnabled val="1"/>
        </dgm:presLayoutVars>
      </dgm:prSet>
      <dgm:spPr/>
    </dgm:pt>
    <dgm:pt modelId="{3DCB4746-6BDE-467D-9C88-B3D2AF408786}" type="pres">
      <dgm:prSet presAssocID="{54DDF0D8-1C34-4C28-95F5-ECDD76EED4AA}" presName="vSp" presStyleCnt="0"/>
      <dgm:spPr/>
    </dgm:pt>
    <dgm:pt modelId="{232C165F-5ECC-49BA-8A5A-0AFE01E3DB6E}" type="pres">
      <dgm:prSet presAssocID="{1CE9BBF0-722B-4CFE-A52B-EB4D26115045}" presName="horFlow" presStyleCnt="0"/>
      <dgm:spPr/>
    </dgm:pt>
    <dgm:pt modelId="{A66F62C5-364D-48BB-880B-514777D9E028}" type="pres">
      <dgm:prSet presAssocID="{1CE9BBF0-722B-4CFE-A52B-EB4D26115045}" presName="bigChev" presStyleLbl="node1" presStyleIdx="2" presStyleCnt="4"/>
      <dgm:spPr/>
    </dgm:pt>
    <dgm:pt modelId="{A8BE4788-5E04-4996-8897-FA79BD4CAE35}" type="pres">
      <dgm:prSet presAssocID="{AF38D44B-9878-4912-BC86-B87D7A12155F}" presName="parTrans" presStyleCnt="0"/>
      <dgm:spPr/>
    </dgm:pt>
    <dgm:pt modelId="{39BCB337-33F2-4A6C-B140-5AA09BBC6387}" type="pres">
      <dgm:prSet presAssocID="{25DA5103-B953-46D1-AC23-6EA338504FB4}" presName="node" presStyleLbl="alignAccFollowNode1" presStyleIdx="6" presStyleCnt="9">
        <dgm:presLayoutVars>
          <dgm:bulletEnabled val="1"/>
        </dgm:presLayoutVars>
      </dgm:prSet>
      <dgm:spPr/>
    </dgm:pt>
    <dgm:pt modelId="{F160AB82-CAEF-45EC-A309-D427474B8C5E}" type="pres">
      <dgm:prSet presAssocID="{8BCD4D04-9EED-48F0-8993-DDA5D94923EC}" presName="sibTrans" presStyleCnt="0"/>
      <dgm:spPr/>
    </dgm:pt>
    <dgm:pt modelId="{8C3705F0-B48E-408D-950A-214B10174D49}" type="pres">
      <dgm:prSet presAssocID="{7C4A1DE8-3BE3-498E-A1B1-F364A2356AD0}" presName="node" presStyleLbl="alignAccFollowNode1" presStyleIdx="7" presStyleCnt="9">
        <dgm:presLayoutVars>
          <dgm:bulletEnabled val="1"/>
        </dgm:presLayoutVars>
      </dgm:prSet>
      <dgm:spPr/>
    </dgm:pt>
    <dgm:pt modelId="{6B380D89-0B03-479E-B867-D365ED3B661E}" type="pres">
      <dgm:prSet presAssocID="{1CE9BBF0-722B-4CFE-A52B-EB4D26115045}" presName="vSp" presStyleCnt="0"/>
      <dgm:spPr/>
    </dgm:pt>
    <dgm:pt modelId="{F066A04D-49F8-4382-8BDE-4C440F03F1E3}" type="pres">
      <dgm:prSet presAssocID="{E8D8FE02-FBB7-4502-B3D4-90826E6EB98B}" presName="horFlow" presStyleCnt="0"/>
      <dgm:spPr/>
    </dgm:pt>
    <dgm:pt modelId="{E4A3A348-937B-4908-B345-AD9952EAB879}" type="pres">
      <dgm:prSet presAssocID="{E8D8FE02-FBB7-4502-B3D4-90826E6EB98B}" presName="bigChev" presStyleLbl="node1" presStyleIdx="3" presStyleCnt="4"/>
      <dgm:spPr/>
    </dgm:pt>
    <dgm:pt modelId="{3DE2A170-806F-48FB-9E74-F16F7D6DDDC9}" type="pres">
      <dgm:prSet presAssocID="{D60B01F9-87A0-41EE-8FA4-E9469ACAAEF6}" presName="parTrans" presStyleCnt="0"/>
      <dgm:spPr/>
    </dgm:pt>
    <dgm:pt modelId="{F90CF330-28E3-4480-86DC-34A11A560526}" type="pres">
      <dgm:prSet presAssocID="{0928BB57-E162-4A11-8DEE-45B5C9E402EE}" presName="node" presStyleLbl="alignAccFollowNode1" presStyleIdx="8" presStyleCnt="9">
        <dgm:presLayoutVars>
          <dgm:bulletEnabled val="1"/>
        </dgm:presLayoutVars>
      </dgm:prSet>
      <dgm:spPr/>
    </dgm:pt>
  </dgm:ptLst>
  <dgm:cxnLst>
    <dgm:cxn modelId="{45CD860C-2890-45FC-B08C-B33239E13F5E}" type="presOf" srcId="{9947B03C-A861-43C0-B7D6-F3D17D980655}" destId="{424F08BB-82A7-427A-AC87-3BDFC5DC54D0}" srcOrd="0" destOrd="0" presId="urn:microsoft.com/office/officeart/2005/8/layout/lProcess3"/>
    <dgm:cxn modelId="{D43F1311-C78B-4386-98C0-376014A56B4D}" type="presOf" srcId="{54C739A5-1709-41BC-9FC2-315FB0EF276C}" destId="{411F87AA-AF6A-4271-99F0-1877B66E6CD6}" srcOrd="0" destOrd="0" presId="urn:microsoft.com/office/officeart/2005/8/layout/lProcess3"/>
    <dgm:cxn modelId="{E1FC2311-6731-472C-88D2-4EA337489532}" srcId="{9947B03C-A861-43C0-B7D6-F3D17D980655}" destId="{01B1DE2A-4A87-4396-A485-B13528A38FD6}" srcOrd="2" destOrd="0" parTransId="{BD69C8DB-22CF-41D1-955F-82C1AAF9B6DB}" sibTransId="{986A7CBA-28E2-4AA1-AA7C-CC1B30F64282}"/>
    <dgm:cxn modelId="{A9BAC214-FFFA-4282-8349-BB451BBEEA77}" srcId="{E8D8FE02-FBB7-4502-B3D4-90826E6EB98B}" destId="{0928BB57-E162-4A11-8DEE-45B5C9E402EE}" srcOrd="0" destOrd="0" parTransId="{D60B01F9-87A0-41EE-8FA4-E9469ACAAEF6}" sibTransId="{F5AF7429-DB48-4356-9A3F-5F3767141BA6}"/>
    <dgm:cxn modelId="{F8DE4815-7EA0-4EC4-B02C-C99C535655DA}" type="presOf" srcId="{F5B25A35-CACC-4CCE-8E9B-870B08583D30}" destId="{121D573F-4558-483E-8C4C-F4EC5185EDF9}" srcOrd="0" destOrd="0" presId="urn:microsoft.com/office/officeart/2005/8/layout/lProcess3"/>
    <dgm:cxn modelId="{F5F2661A-8E5D-421C-BBAD-F51BC56D0205}" srcId="{3360A374-4032-4CCD-9AF8-B762C9382521}" destId="{E8D8FE02-FBB7-4502-B3D4-90826E6EB98B}" srcOrd="3" destOrd="0" parTransId="{60659AE6-F352-4B28-8B57-41388C80DE5C}" sibTransId="{79F66A27-0D85-4AB4-B992-407EF07F6B04}"/>
    <dgm:cxn modelId="{61FE8936-A4B4-4D69-A1AA-B2B995AE22E3}" srcId="{9947B03C-A861-43C0-B7D6-F3D17D980655}" destId="{EE2DFCED-81D4-48F9-9103-B29FAA6E87E4}" srcOrd="1" destOrd="0" parTransId="{156B9FE4-402A-46BD-8188-150204204851}" sibTransId="{7CD3B695-6876-4D58-8ADB-B9F599C37345}"/>
    <dgm:cxn modelId="{90BD2946-85AE-4BCB-995A-059C763ABBDD}" srcId="{9947B03C-A861-43C0-B7D6-F3D17D980655}" destId="{F5B25A35-CACC-4CCE-8E9B-870B08583D30}" srcOrd="0" destOrd="0" parTransId="{62BCDDF5-4E77-485F-AFF1-F4BC5FBB8BAD}" sibTransId="{1A22D835-D649-4F93-9A4B-39666E8AAD02}"/>
    <dgm:cxn modelId="{EB939E5F-EE2A-4FD3-91D8-C610425628A3}" type="presOf" srcId="{3360A374-4032-4CCD-9AF8-B762C9382521}" destId="{2C1AC9B1-EC03-47AE-AB4A-B8796DAA75D1}" srcOrd="0" destOrd="0" presId="urn:microsoft.com/office/officeart/2005/8/layout/lProcess3"/>
    <dgm:cxn modelId="{F97FF764-EEAF-4C70-B829-31A5E9E92228}" type="presOf" srcId="{4A331443-79DD-4F17-92F5-5FE60887A288}" destId="{32C0FCEF-1CB1-4800-B235-2DD56874B56F}" srcOrd="0" destOrd="0" presId="urn:microsoft.com/office/officeart/2005/8/layout/lProcess3"/>
    <dgm:cxn modelId="{08770C7F-59BE-4AD6-B1F0-2B92514764FE}" srcId="{3360A374-4032-4CCD-9AF8-B762C9382521}" destId="{1CE9BBF0-722B-4CFE-A52B-EB4D26115045}" srcOrd="2" destOrd="0" parTransId="{AF2DD49E-F8C1-4E44-841E-7E8B9F8FA8F3}" sibTransId="{5F6EFC02-1E58-4331-AA49-C5EC9723FE4F}"/>
    <dgm:cxn modelId="{C9FE548E-6C7A-4C15-95F7-B32F25C3B167}" type="presOf" srcId="{0302BE70-8159-47F8-B087-28F55923D7A2}" destId="{C24F9C12-4AA2-4D02-904C-7C7965E0A207}" srcOrd="0" destOrd="0" presId="urn:microsoft.com/office/officeart/2005/8/layout/lProcess3"/>
    <dgm:cxn modelId="{1463D68E-DB59-4AE7-815F-087395299C89}" srcId="{54DDF0D8-1C34-4C28-95F5-ECDD76EED4AA}" destId="{54C739A5-1709-41BC-9FC2-315FB0EF276C}" srcOrd="0" destOrd="0" parTransId="{4D2A903C-1DFB-49A2-B72B-3CCA5F2306BC}" sibTransId="{C27DAC5E-AC9F-4B2B-B575-78ECF7678763}"/>
    <dgm:cxn modelId="{AFD36A98-6ED2-411A-A425-FB042F3DEF8C}" srcId="{1CE9BBF0-722B-4CFE-A52B-EB4D26115045}" destId="{25DA5103-B953-46D1-AC23-6EA338504FB4}" srcOrd="0" destOrd="0" parTransId="{AF38D44B-9878-4912-BC86-B87D7A12155F}" sibTransId="{8BCD4D04-9EED-48F0-8993-DDA5D94923EC}"/>
    <dgm:cxn modelId="{98F12FA7-7406-4291-ADC9-FA2D8DBAE408}" srcId="{3360A374-4032-4CCD-9AF8-B762C9382521}" destId="{9947B03C-A861-43C0-B7D6-F3D17D980655}" srcOrd="0" destOrd="0" parTransId="{55B036B4-C03B-45BE-B40F-A33ACBF42F69}" sibTransId="{F89D3031-24EE-4566-92AF-7E03BD4F7211}"/>
    <dgm:cxn modelId="{668AE3B6-92D7-4E46-98DB-0AEB7136A8F8}" srcId="{9947B03C-A861-43C0-B7D6-F3D17D980655}" destId="{4A331443-79DD-4F17-92F5-5FE60887A288}" srcOrd="3" destOrd="0" parTransId="{EB2D3A8F-3120-4644-8CC7-3620EC3FD5D8}" sibTransId="{D3C0A934-CA76-48F6-A73A-7A0919B671E9}"/>
    <dgm:cxn modelId="{59FF0CBD-4463-4C08-B246-BE2074156A65}" type="presOf" srcId="{0928BB57-E162-4A11-8DEE-45B5C9E402EE}" destId="{F90CF330-28E3-4480-86DC-34A11A560526}" srcOrd="0" destOrd="0" presId="urn:microsoft.com/office/officeart/2005/8/layout/lProcess3"/>
    <dgm:cxn modelId="{514206C2-E6FB-42C4-8E01-809ED06A910A}" type="presOf" srcId="{01B1DE2A-4A87-4396-A485-B13528A38FD6}" destId="{D5BC9934-38B5-400B-BA7C-13B4A743DCE7}" srcOrd="0" destOrd="0" presId="urn:microsoft.com/office/officeart/2005/8/layout/lProcess3"/>
    <dgm:cxn modelId="{C5C375C7-E319-4F23-83F2-BCF070C9FDC8}" srcId="{3360A374-4032-4CCD-9AF8-B762C9382521}" destId="{54DDF0D8-1C34-4C28-95F5-ECDD76EED4AA}" srcOrd="1" destOrd="0" parTransId="{03C636FB-2267-4748-A08E-1958C4D8F0B2}" sibTransId="{49BF88FC-F4FE-4C4A-AE29-C6B8ACBF207A}"/>
    <dgm:cxn modelId="{F49BB1CF-E142-46BC-9A31-3408000DCA84}" type="presOf" srcId="{EE2DFCED-81D4-48F9-9103-B29FAA6E87E4}" destId="{B8436C00-E104-4544-85FF-C313F6438564}" srcOrd="0" destOrd="0" presId="urn:microsoft.com/office/officeart/2005/8/layout/lProcess3"/>
    <dgm:cxn modelId="{3983FED3-11EA-4DFB-AF86-E97052716AB0}" type="presOf" srcId="{1CE9BBF0-722B-4CFE-A52B-EB4D26115045}" destId="{A66F62C5-364D-48BB-880B-514777D9E028}" srcOrd="0" destOrd="0" presId="urn:microsoft.com/office/officeart/2005/8/layout/lProcess3"/>
    <dgm:cxn modelId="{DACE17D5-D449-4582-BB14-7C0EF7E19063}" type="presOf" srcId="{25DA5103-B953-46D1-AC23-6EA338504FB4}" destId="{39BCB337-33F2-4A6C-B140-5AA09BBC6387}" srcOrd="0" destOrd="0" presId="urn:microsoft.com/office/officeart/2005/8/layout/lProcess3"/>
    <dgm:cxn modelId="{7449DDDB-8313-4E6A-A3B4-18980BB00F68}" type="presOf" srcId="{7C4A1DE8-3BE3-498E-A1B1-F364A2356AD0}" destId="{8C3705F0-B48E-408D-950A-214B10174D49}" srcOrd="0" destOrd="0" presId="urn:microsoft.com/office/officeart/2005/8/layout/lProcess3"/>
    <dgm:cxn modelId="{F08EDADE-BEEE-4919-BEC8-A7D839EA4A9B}" type="presOf" srcId="{54DDF0D8-1C34-4C28-95F5-ECDD76EED4AA}" destId="{B8FD9E42-461F-4179-A3D3-F6339FFBC640}" srcOrd="0" destOrd="0" presId="urn:microsoft.com/office/officeart/2005/8/layout/lProcess3"/>
    <dgm:cxn modelId="{DAC03DF9-9793-4041-B050-6985E4550E97}" srcId="{1CE9BBF0-722B-4CFE-A52B-EB4D26115045}" destId="{7C4A1DE8-3BE3-498E-A1B1-F364A2356AD0}" srcOrd="1" destOrd="0" parTransId="{7EFBAB74-E81D-441A-8493-7AD6A10314FF}" sibTransId="{CE0F99AD-1BE0-48BC-8AB7-AF45B5EB96E9}"/>
    <dgm:cxn modelId="{B2B1B4FC-B292-4465-8C64-D246622EAE0C}" type="presOf" srcId="{E8D8FE02-FBB7-4502-B3D4-90826E6EB98B}" destId="{E4A3A348-937B-4908-B345-AD9952EAB879}" srcOrd="0" destOrd="0" presId="urn:microsoft.com/office/officeart/2005/8/layout/lProcess3"/>
    <dgm:cxn modelId="{B4C7FDFE-ED85-4949-BD90-FA8607D7666E}" srcId="{54DDF0D8-1C34-4C28-95F5-ECDD76EED4AA}" destId="{0302BE70-8159-47F8-B087-28F55923D7A2}" srcOrd="1" destOrd="0" parTransId="{BEB759BE-0F8F-4A4B-874F-7ACE1864464C}" sibTransId="{AB948EC8-8E57-450D-9114-C3648AA42327}"/>
    <dgm:cxn modelId="{EC28AC96-EFF2-4FE0-94D7-C35C37625C3A}" type="presParOf" srcId="{2C1AC9B1-EC03-47AE-AB4A-B8796DAA75D1}" destId="{75D60DF5-4C1D-4344-AE6D-A85AE6C5C509}" srcOrd="0" destOrd="0" presId="urn:microsoft.com/office/officeart/2005/8/layout/lProcess3"/>
    <dgm:cxn modelId="{B77F98B7-2C31-4672-93EC-CB966A02FE10}" type="presParOf" srcId="{75D60DF5-4C1D-4344-AE6D-A85AE6C5C509}" destId="{424F08BB-82A7-427A-AC87-3BDFC5DC54D0}" srcOrd="0" destOrd="0" presId="urn:microsoft.com/office/officeart/2005/8/layout/lProcess3"/>
    <dgm:cxn modelId="{E5A20E44-CEA5-4CD1-9AB6-386C5519F697}" type="presParOf" srcId="{75D60DF5-4C1D-4344-AE6D-A85AE6C5C509}" destId="{4B9E48D8-A666-431C-BE5B-B346778A1402}" srcOrd="1" destOrd="0" presId="urn:microsoft.com/office/officeart/2005/8/layout/lProcess3"/>
    <dgm:cxn modelId="{19DDC66B-BAB7-4149-A1A9-0649779B12ED}" type="presParOf" srcId="{75D60DF5-4C1D-4344-AE6D-A85AE6C5C509}" destId="{121D573F-4558-483E-8C4C-F4EC5185EDF9}" srcOrd="2" destOrd="0" presId="urn:microsoft.com/office/officeart/2005/8/layout/lProcess3"/>
    <dgm:cxn modelId="{D7EED475-2374-42CE-A8CA-689860DB2C49}" type="presParOf" srcId="{75D60DF5-4C1D-4344-AE6D-A85AE6C5C509}" destId="{9DD18B1D-E7A6-41C2-BD39-729E4B9312CF}" srcOrd="3" destOrd="0" presId="urn:microsoft.com/office/officeart/2005/8/layout/lProcess3"/>
    <dgm:cxn modelId="{7D94D543-6A1C-4354-8118-8D77AF841EA4}" type="presParOf" srcId="{75D60DF5-4C1D-4344-AE6D-A85AE6C5C509}" destId="{B8436C00-E104-4544-85FF-C313F6438564}" srcOrd="4" destOrd="0" presId="urn:microsoft.com/office/officeart/2005/8/layout/lProcess3"/>
    <dgm:cxn modelId="{5A111E66-F12E-4DDF-90C1-5C5274242188}" type="presParOf" srcId="{75D60DF5-4C1D-4344-AE6D-A85AE6C5C509}" destId="{A9DEA400-30F9-42D6-9AC4-D4BEB0732B3C}" srcOrd="5" destOrd="0" presId="urn:microsoft.com/office/officeart/2005/8/layout/lProcess3"/>
    <dgm:cxn modelId="{46942E47-92E3-48A1-991D-69782D54A8D6}" type="presParOf" srcId="{75D60DF5-4C1D-4344-AE6D-A85AE6C5C509}" destId="{D5BC9934-38B5-400B-BA7C-13B4A743DCE7}" srcOrd="6" destOrd="0" presId="urn:microsoft.com/office/officeart/2005/8/layout/lProcess3"/>
    <dgm:cxn modelId="{EB6547AD-FD86-4609-BE26-73951D926513}" type="presParOf" srcId="{75D60DF5-4C1D-4344-AE6D-A85AE6C5C509}" destId="{D233E14F-BBC7-464E-B23E-18F93FCB2958}" srcOrd="7" destOrd="0" presId="urn:microsoft.com/office/officeart/2005/8/layout/lProcess3"/>
    <dgm:cxn modelId="{717C6288-3FE3-48E4-B80A-6DD48D8B0E22}" type="presParOf" srcId="{75D60DF5-4C1D-4344-AE6D-A85AE6C5C509}" destId="{32C0FCEF-1CB1-4800-B235-2DD56874B56F}" srcOrd="8" destOrd="0" presId="urn:microsoft.com/office/officeart/2005/8/layout/lProcess3"/>
    <dgm:cxn modelId="{A024E39B-D9CC-4676-B421-283F0EF20172}" type="presParOf" srcId="{2C1AC9B1-EC03-47AE-AB4A-B8796DAA75D1}" destId="{1E56E016-6235-458A-93AB-EC4DAF4F64B4}" srcOrd="1" destOrd="0" presId="urn:microsoft.com/office/officeart/2005/8/layout/lProcess3"/>
    <dgm:cxn modelId="{91A4FBAD-2EBB-4724-83E7-92ED71ABC60D}" type="presParOf" srcId="{2C1AC9B1-EC03-47AE-AB4A-B8796DAA75D1}" destId="{F4868E34-3876-41CC-988F-A89A8F704113}" srcOrd="2" destOrd="0" presId="urn:microsoft.com/office/officeart/2005/8/layout/lProcess3"/>
    <dgm:cxn modelId="{A744AB9E-7F5E-44BB-99F7-8F5EEECA950E}" type="presParOf" srcId="{F4868E34-3876-41CC-988F-A89A8F704113}" destId="{B8FD9E42-461F-4179-A3D3-F6339FFBC640}" srcOrd="0" destOrd="0" presId="urn:microsoft.com/office/officeart/2005/8/layout/lProcess3"/>
    <dgm:cxn modelId="{8CF1769C-6A59-45D0-A150-1DA2830E7FCA}" type="presParOf" srcId="{F4868E34-3876-41CC-988F-A89A8F704113}" destId="{F61F3AC8-5DDE-4204-8799-8118B4346A8F}" srcOrd="1" destOrd="0" presId="urn:microsoft.com/office/officeart/2005/8/layout/lProcess3"/>
    <dgm:cxn modelId="{16228C69-1F1C-4E43-944C-E923DCF28525}" type="presParOf" srcId="{F4868E34-3876-41CC-988F-A89A8F704113}" destId="{411F87AA-AF6A-4271-99F0-1877B66E6CD6}" srcOrd="2" destOrd="0" presId="urn:microsoft.com/office/officeart/2005/8/layout/lProcess3"/>
    <dgm:cxn modelId="{0943BB14-56D3-4212-87E5-3C98FA235872}" type="presParOf" srcId="{F4868E34-3876-41CC-988F-A89A8F704113}" destId="{A83A76A3-4B52-41D2-8AB8-D52A3EB74752}" srcOrd="3" destOrd="0" presId="urn:microsoft.com/office/officeart/2005/8/layout/lProcess3"/>
    <dgm:cxn modelId="{450B9CB2-137D-427C-9476-B5A8B5E2386E}" type="presParOf" srcId="{F4868E34-3876-41CC-988F-A89A8F704113}" destId="{C24F9C12-4AA2-4D02-904C-7C7965E0A207}" srcOrd="4" destOrd="0" presId="urn:microsoft.com/office/officeart/2005/8/layout/lProcess3"/>
    <dgm:cxn modelId="{FC374D25-F381-439D-BA80-60970BFFB54D}" type="presParOf" srcId="{2C1AC9B1-EC03-47AE-AB4A-B8796DAA75D1}" destId="{3DCB4746-6BDE-467D-9C88-B3D2AF408786}" srcOrd="3" destOrd="0" presId="urn:microsoft.com/office/officeart/2005/8/layout/lProcess3"/>
    <dgm:cxn modelId="{2207151F-66C0-469C-8731-5D6B743222BB}" type="presParOf" srcId="{2C1AC9B1-EC03-47AE-AB4A-B8796DAA75D1}" destId="{232C165F-5ECC-49BA-8A5A-0AFE01E3DB6E}" srcOrd="4" destOrd="0" presId="urn:microsoft.com/office/officeart/2005/8/layout/lProcess3"/>
    <dgm:cxn modelId="{03BD2DA3-7F67-4A70-AE53-8ED7300A831C}" type="presParOf" srcId="{232C165F-5ECC-49BA-8A5A-0AFE01E3DB6E}" destId="{A66F62C5-364D-48BB-880B-514777D9E028}" srcOrd="0" destOrd="0" presId="urn:microsoft.com/office/officeart/2005/8/layout/lProcess3"/>
    <dgm:cxn modelId="{B4348417-6ECF-4FF1-9DF3-37505FC7633F}" type="presParOf" srcId="{232C165F-5ECC-49BA-8A5A-0AFE01E3DB6E}" destId="{A8BE4788-5E04-4996-8897-FA79BD4CAE35}" srcOrd="1" destOrd="0" presId="urn:microsoft.com/office/officeart/2005/8/layout/lProcess3"/>
    <dgm:cxn modelId="{8D9444A0-17B8-43B0-BC8B-0282E08A72C9}" type="presParOf" srcId="{232C165F-5ECC-49BA-8A5A-0AFE01E3DB6E}" destId="{39BCB337-33F2-4A6C-B140-5AA09BBC6387}" srcOrd="2" destOrd="0" presId="urn:microsoft.com/office/officeart/2005/8/layout/lProcess3"/>
    <dgm:cxn modelId="{A21D3B36-5BDB-477A-9A85-844F5DB369A1}" type="presParOf" srcId="{232C165F-5ECC-49BA-8A5A-0AFE01E3DB6E}" destId="{F160AB82-CAEF-45EC-A309-D427474B8C5E}" srcOrd="3" destOrd="0" presId="urn:microsoft.com/office/officeart/2005/8/layout/lProcess3"/>
    <dgm:cxn modelId="{7D2B961E-ACAD-4976-BA6C-D113B006A820}" type="presParOf" srcId="{232C165F-5ECC-49BA-8A5A-0AFE01E3DB6E}" destId="{8C3705F0-B48E-408D-950A-214B10174D49}" srcOrd="4" destOrd="0" presId="urn:microsoft.com/office/officeart/2005/8/layout/lProcess3"/>
    <dgm:cxn modelId="{16B9777D-FB72-4EB9-8B75-C9610C9CDBED}" type="presParOf" srcId="{2C1AC9B1-EC03-47AE-AB4A-B8796DAA75D1}" destId="{6B380D89-0B03-479E-B867-D365ED3B661E}" srcOrd="5" destOrd="0" presId="urn:microsoft.com/office/officeart/2005/8/layout/lProcess3"/>
    <dgm:cxn modelId="{78C09F5A-A626-49DE-B38B-D4EC3C9F34EB}" type="presParOf" srcId="{2C1AC9B1-EC03-47AE-AB4A-B8796DAA75D1}" destId="{F066A04D-49F8-4382-8BDE-4C440F03F1E3}" srcOrd="6" destOrd="0" presId="urn:microsoft.com/office/officeart/2005/8/layout/lProcess3"/>
    <dgm:cxn modelId="{0BFE4625-E0F8-4368-B6CB-E737BB433A2D}" type="presParOf" srcId="{F066A04D-49F8-4382-8BDE-4C440F03F1E3}" destId="{E4A3A348-937B-4908-B345-AD9952EAB879}" srcOrd="0" destOrd="0" presId="urn:microsoft.com/office/officeart/2005/8/layout/lProcess3"/>
    <dgm:cxn modelId="{33DC9EBD-160B-4EBF-BDEC-88F23985D8E1}" type="presParOf" srcId="{F066A04D-49F8-4382-8BDE-4C440F03F1E3}" destId="{3DE2A170-806F-48FB-9E74-F16F7D6DDDC9}" srcOrd="1" destOrd="0" presId="urn:microsoft.com/office/officeart/2005/8/layout/lProcess3"/>
    <dgm:cxn modelId="{85C75719-B331-457F-9A2B-99215AD95C26}" type="presParOf" srcId="{F066A04D-49F8-4382-8BDE-4C440F03F1E3}" destId="{F90CF330-28E3-4480-86DC-34A11A560526}" srcOrd="2" destOrd="0" presId="urn:microsoft.com/office/officeart/2005/8/layout/l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A006A0-F611-4A0F-92ED-049DB662F791}">
      <dsp:nvSpPr>
        <dsp:cNvPr id="0" name=""/>
        <dsp:cNvSpPr/>
      </dsp:nvSpPr>
      <dsp:spPr>
        <a:xfrm>
          <a:off x="0" y="39687"/>
          <a:ext cx="3286125" cy="1971675"/>
        </a:xfrm>
        <a:prstGeom prst="rect">
          <a:avLst/>
        </a:prstGeom>
        <a:solidFill>
          <a:schemeClr val="accent1">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GB" sz="2200" kern="1200" dirty="0"/>
            <a:t>Personalised Care is a key policy for the NHS, and part of the LTP</a:t>
          </a:r>
        </a:p>
      </dsp:txBody>
      <dsp:txXfrm>
        <a:off x="0" y="39687"/>
        <a:ext cx="3286125" cy="1971675"/>
      </dsp:txXfrm>
    </dsp:sp>
    <dsp:sp modelId="{D00C33DB-AB81-466C-A3CE-C36DDA18B79D}">
      <dsp:nvSpPr>
        <dsp:cNvPr id="0" name=""/>
        <dsp:cNvSpPr/>
      </dsp:nvSpPr>
      <dsp:spPr>
        <a:xfrm>
          <a:off x="3614737" y="39687"/>
          <a:ext cx="3286125" cy="1971675"/>
        </a:xfrm>
        <a:prstGeom prst="rect">
          <a:avLst/>
        </a:prstGeom>
        <a:solidFill>
          <a:schemeClr val="accent1">
            <a:shade val="50000"/>
            <a:hueOff val="99904"/>
            <a:satOff val="-4953"/>
            <a:lumOff val="1456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GB" sz="2200" kern="1200" dirty="0"/>
            <a:t>Aim: to embed personalised, person-centred care into all local health systems</a:t>
          </a:r>
        </a:p>
      </dsp:txBody>
      <dsp:txXfrm>
        <a:off x="3614737" y="39687"/>
        <a:ext cx="3286125" cy="1971675"/>
      </dsp:txXfrm>
    </dsp:sp>
    <dsp:sp modelId="{9CD93D22-2AEE-4E9B-BDCC-884217DC411D}">
      <dsp:nvSpPr>
        <dsp:cNvPr id="0" name=""/>
        <dsp:cNvSpPr/>
      </dsp:nvSpPr>
      <dsp:spPr>
        <a:xfrm>
          <a:off x="7229475" y="39687"/>
          <a:ext cx="3286125" cy="1971675"/>
        </a:xfrm>
        <a:prstGeom prst="rect">
          <a:avLst/>
        </a:prstGeom>
        <a:solidFill>
          <a:schemeClr val="accent1">
            <a:shade val="50000"/>
            <a:hueOff val="199808"/>
            <a:satOff val="-9906"/>
            <a:lumOff val="2912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GB" sz="2200" kern="1200" dirty="0"/>
            <a:t>Evidence for the effectiveness of PC has been sporadic, and piecemeal</a:t>
          </a:r>
        </a:p>
      </dsp:txBody>
      <dsp:txXfrm>
        <a:off x="7229475" y="39687"/>
        <a:ext cx="3286125" cy="1971675"/>
      </dsp:txXfrm>
    </dsp:sp>
    <dsp:sp modelId="{D896A59A-642D-42E0-B840-5FE33879AF11}">
      <dsp:nvSpPr>
        <dsp:cNvPr id="0" name=""/>
        <dsp:cNvSpPr/>
      </dsp:nvSpPr>
      <dsp:spPr>
        <a:xfrm>
          <a:off x="0" y="2339975"/>
          <a:ext cx="3286125" cy="1971675"/>
        </a:xfrm>
        <a:prstGeom prst="rect">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GB" sz="2200" kern="1200" dirty="0"/>
            <a:t>Current need for a  review of the evidence, to support planning and policy-making</a:t>
          </a:r>
        </a:p>
      </dsp:txBody>
      <dsp:txXfrm>
        <a:off x="0" y="2339975"/>
        <a:ext cx="3286125" cy="1971675"/>
      </dsp:txXfrm>
    </dsp:sp>
    <dsp:sp modelId="{7DE6CC3B-65CB-40D2-A55D-9CB812334248}">
      <dsp:nvSpPr>
        <dsp:cNvPr id="0" name=""/>
        <dsp:cNvSpPr/>
      </dsp:nvSpPr>
      <dsp:spPr>
        <a:xfrm>
          <a:off x="3614737" y="2339975"/>
          <a:ext cx="3286125" cy="1971675"/>
        </a:xfrm>
        <a:prstGeom prst="rect">
          <a:avLst/>
        </a:prstGeom>
        <a:solidFill>
          <a:schemeClr val="accent1">
            <a:shade val="50000"/>
            <a:hueOff val="199808"/>
            <a:satOff val="-9906"/>
            <a:lumOff val="2912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GB" sz="2200" kern="1200" dirty="0"/>
            <a:t>Commission from the Evidence Task &amp; Finish Group to undertake such a review for fast delivery</a:t>
          </a:r>
        </a:p>
      </dsp:txBody>
      <dsp:txXfrm>
        <a:off x="3614737" y="2339975"/>
        <a:ext cx="3286125" cy="1971675"/>
      </dsp:txXfrm>
    </dsp:sp>
    <dsp:sp modelId="{9958955C-232D-4707-9845-C502C551A733}">
      <dsp:nvSpPr>
        <dsp:cNvPr id="0" name=""/>
        <dsp:cNvSpPr/>
      </dsp:nvSpPr>
      <dsp:spPr>
        <a:xfrm>
          <a:off x="7229475" y="2339975"/>
          <a:ext cx="3286125" cy="1971675"/>
        </a:xfrm>
        <a:prstGeom prst="rect">
          <a:avLst/>
        </a:prstGeom>
        <a:solidFill>
          <a:schemeClr val="accent1">
            <a:shade val="50000"/>
            <a:hueOff val="99904"/>
            <a:satOff val="-4953"/>
            <a:lumOff val="1456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GB" sz="2200" kern="1200" dirty="0"/>
            <a:t>Transformation Partnership in Health &amp; Care (Royal Free London NHS FT) undertook this commission </a:t>
          </a:r>
        </a:p>
      </dsp:txBody>
      <dsp:txXfrm>
        <a:off x="7229475" y="2339975"/>
        <a:ext cx="3286125" cy="1971675"/>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490142-2806-4998-B447-957E4819884C}">
      <dsp:nvSpPr>
        <dsp:cNvPr id="0" name=""/>
        <dsp:cNvSpPr/>
      </dsp:nvSpPr>
      <dsp:spPr>
        <a:xfrm>
          <a:off x="3080" y="711651"/>
          <a:ext cx="2444055" cy="146643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In some forms for some conditions, the evidence supports the assertion that PC leads to lower healthcare utilisation. The evidence is strongest for SSM in COPD.</a:t>
          </a:r>
        </a:p>
      </dsp:txBody>
      <dsp:txXfrm>
        <a:off x="3080" y="711651"/>
        <a:ext cx="2444055" cy="1466433"/>
      </dsp:txXfrm>
    </dsp:sp>
    <dsp:sp modelId="{9DAAD92E-D6AD-4B7F-8DCB-D7787F3F76A8}">
      <dsp:nvSpPr>
        <dsp:cNvPr id="0" name=""/>
        <dsp:cNvSpPr/>
      </dsp:nvSpPr>
      <dsp:spPr>
        <a:xfrm>
          <a:off x="2691541" y="711651"/>
          <a:ext cx="2444055" cy="146643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There is cross-condition support for the positive impact that PC has on patient health, wellbeing and clinical outcomes</a:t>
          </a:r>
        </a:p>
      </dsp:txBody>
      <dsp:txXfrm>
        <a:off x="2691541" y="711651"/>
        <a:ext cx="2444055" cy="1466433"/>
      </dsp:txXfrm>
    </dsp:sp>
    <dsp:sp modelId="{CD726D79-6791-433B-9387-165108FFE662}">
      <dsp:nvSpPr>
        <dsp:cNvPr id="0" name=""/>
        <dsp:cNvSpPr/>
      </dsp:nvSpPr>
      <dsp:spPr>
        <a:xfrm>
          <a:off x="5380002" y="711651"/>
          <a:ext cx="2444055" cy="146643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Deep dive analyses would be instructive to identify areas of variation and relationships of PC interventions to deprivation and other wider determinants of health</a:t>
          </a:r>
        </a:p>
      </dsp:txBody>
      <dsp:txXfrm>
        <a:off x="5380002" y="711651"/>
        <a:ext cx="2444055" cy="1466433"/>
      </dsp:txXfrm>
    </dsp:sp>
    <dsp:sp modelId="{78F3636E-4596-420E-8EC9-236B64CC37D6}">
      <dsp:nvSpPr>
        <dsp:cNvPr id="0" name=""/>
        <dsp:cNvSpPr/>
      </dsp:nvSpPr>
      <dsp:spPr>
        <a:xfrm>
          <a:off x="8068463" y="711651"/>
          <a:ext cx="2444055" cy="146643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More research is required to understand more about the other components of PC and their impact, as well as more exploration of how the indirect impacts might reduce utilisation in the longer term</a:t>
          </a:r>
        </a:p>
      </dsp:txBody>
      <dsp:txXfrm>
        <a:off x="8068463" y="711651"/>
        <a:ext cx="2444055" cy="1466433"/>
      </dsp:txXfrm>
    </dsp:sp>
    <dsp:sp modelId="{D429C8F6-8621-4A4A-9561-6A9EDAB64E69}">
      <dsp:nvSpPr>
        <dsp:cNvPr id="0" name=""/>
        <dsp:cNvSpPr/>
      </dsp:nvSpPr>
      <dsp:spPr>
        <a:xfrm>
          <a:off x="3080" y="2422490"/>
          <a:ext cx="2444055" cy="146643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More evidence is required to explore the person-centric impact of PC, not just one of the components or its interventions in isolation of the others</a:t>
          </a:r>
        </a:p>
      </dsp:txBody>
      <dsp:txXfrm>
        <a:off x="3080" y="2422490"/>
        <a:ext cx="2444055" cy="1466433"/>
      </dsp:txXfrm>
    </dsp:sp>
    <dsp:sp modelId="{6782265E-8601-4047-A632-B3E1B8883F25}">
      <dsp:nvSpPr>
        <dsp:cNvPr id="0" name=""/>
        <dsp:cNvSpPr/>
      </dsp:nvSpPr>
      <dsp:spPr>
        <a:xfrm>
          <a:off x="2691541" y="2422490"/>
          <a:ext cx="2444055" cy="146643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More information is needed about the impact of PC interventions on utilisation in primary care</a:t>
          </a:r>
        </a:p>
      </dsp:txBody>
      <dsp:txXfrm>
        <a:off x="2691541" y="2422490"/>
        <a:ext cx="2444055" cy="1466433"/>
      </dsp:txXfrm>
    </dsp:sp>
    <dsp:sp modelId="{09AC0722-3D5F-4354-86A3-F425339A95EF}">
      <dsp:nvSpPr>
        <dsp:cNvPr id="0" name=""/>
        <dsp:cNvSpPr/>
      </dsp:nvSpPr>
      <dsp:spPr>
        <a:xfrm>
          <a:off x="5380002" y="2422490"/>
          <a:ext cx="2444055" cy="146643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An evidence review could look at co-morbid patients, and the impact that PC interventions have for them</a:t>
          </a:r>
        </a:p>
      </dsp:txBody>
      <dsp:txXfrm>
        <a:off x="5380002" y="2422490"/>
        <a:ext cx="2444055" cy="1466433"/>
      </dsp:txXfrm>
    </dsp:sp>
    <dsp:sp modelId="{5D8CC3C7-F761-4510-97D4-6DFC6DA97533}">
      <dsp:nvSpPr>
        <dsp:cNvPr id="0" name=""/>
        <dsp:cNvSpPr/>
      </dsp:nvSpPr>
      <dsp:spPr>
        <a:xfrm>
          <a:off x="8068463" y="2422490"/>
          <a:ext cx="2444055" cy="146643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Exploration may be constructive around the impact on staff</a:t>
          </a:r>
        </a:p>
      </dsp:txBody>
      <dsp:txXfrm>
        <a:off x="8068463" y="2422490"/>
        <a:ext cx="2444055" cy="146643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40A5C7-B74C-4F11-B717-DBF69814493F}">
      <dsp:nvSpPr>
        <dsp:cNvPr id="0" name=""/>
        <dsp:cNvSpPr/>
      </dsp:nvSpPr>
      <dsp:spPr>
        <a:xfrm>
          <a:off x="42134" y="1771"/>
          <a:ext cx="3344457" cy="200667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Full Systematic Review beyond budget and timescale, so Rapid Evidence Assessment selected as methodology, with broadly qualitative approach using narrative synthesis</a:t>
          </a:r>
        </a:p>
      </dsp:txBody>
      <dsp:txXfrm>
        <a:off x="42134" y="1771"/>
        <a:ext cx="3344457" cy="2006674"/>
      </dsp:txXfrm>
    </dsp:sp>
    <dsp:sp modelId="{441C6752-F8F8-4A11-B611-EB1F3B505353}">
      <dsp:nvSpPr>
        <dsp:cNvPr id="0" name=""/>
        <dsp:cNvSpPr/>
      </dsp:nvSpPr>
      <dsp:spPr>
        <a:xfrm>
          <a:off x="3721037" y="1771"/>
          <a:ext cx="3344457" cy="200667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Papers under review were limited to Systematic Reviews and Meta-analyses to limit numbers</a:t>
          </a:r>
        </a:p>
      </dsp:txBody>
      <dsp:txXfrm>
        <a:off x="3721037" y="1771"/>
        <a:ext cx="3344457" cy="2006674"/>
      </dsp:txXfrm>
    </dsp:sp>
    <dsp:sp modelId="{2C27F05C-C0D3-42BA-A3C6-15024B04B282}">
      <dsp:nvSpPr>
        <dsp:cNvPr id="0" name=""/>
        <dsp:cNvSpPr/>
      </dsp:nvSpPr>
      <dsp:spPr>
        <a:xfrm>
          <a:off x="7399940" y="1771"/>
          <a:ext cx="3344457" cy="200667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PICO tool produced this Research Question: </a:t>
          </a:r>
          <a:r>
            <a:rPr lang="en-GB" sz="1400" b="1" i="1" kern="1200" dirty="0"/>
            <a:t>‘In those with MSK, diabetes or respiratory disease (P), what has been the effect of “Personalised Care” [as defined by the universal model of personalised care] (I) on health utilisation, clinical outcomes, wellbeing outcomes, patient experience &amp; safety (O)?’</a:t>
          </a:r>
          <a:endParaRPr lang="en-GB" sz="1400" kern="1200" dirty="0"/>
        </a:p>
      </dsp:txBody>
      <dsp:txXfrm>
        <a:off x="7399940" y="1771"/>
        <a:ext cx="3344457" cy="2006674"/>
      </dsp:txXfrm>
    </dsp:sp>
    <dsp:sp modelId="{DF3B4039-0C20-448B-B769-4AC073ADEA43}">
      <dsp:nvSpPr>
        <dsp:cNvPr id="0" name=""/>
        <dsp:cNvSpPr/>
      </dsp:nvSpPr>
      <dsp:spPr>
        <a:xfrm>
          <a:off x="1881586" y="2342891"/>
          <a:ext cx="3344457" cy="200667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Search strings developed with input from SMEs, using wildcards and Boolean operators</a:t>
          </a:r>
        </a:p>
      </dsp:txBody>
      <dsp:txXfrm>
        <a:off x="1881586" y="2342891"/>
        <a:ext cx="3344457" cy="2006674"/>
      </dsp:txXfrm>
    </dsp:sp>
    <dsp:sp modelId="{7BB51F17-6DE4-4E83-AA64-2A4981769D08}">
      <dsp:nvSpPr>
        <dsp:cNvPr id="0" name=""/>
        <dsp:cNvSpPr/>
      </dsp:nvSpPr>
      <dsp:spPr>
        <a:xfrm>
          <a:off x="5560489" y="2342891"/>
          <a:ext cx="3344457" cy="200667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On academic advice, we limited our search to Embase, Medline and the Cochrane Library</a:t>
          </a:r>
        </a:p>
      </dsp:txBody>
      <dsp:txXfrm>
        <a:off x="5560489" y="2342891"/>
        <a:ext cx="3344457" cy="200667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4FECB58-C0EA-4B78-A491-9A7A5F95F1B7}">
      <dsp:nvSpPr>
        <dsp:cNvPr id="0" name=""/>
        <dsp:cNvSpPr/>
      </dsp:nvSpPr>
      <dsp:spPr>
        <a:xfrm>
          <a:off x="1598465" y="2888"/>
          <a:ext cx="3756637" cy="2253982"/>
        </a:xfrm>
        <a:prstGeom prst="rect">
          <a:avLst/>
        </a:prstGeom>
        <a:gradFill rotWithShape="0">
          <a:gsLst>
            <a:gs pos="0">
              <a:schemeClr val="accent1">
                <a:shade val="50000"/>
                <a:hueOff val="0"/>
                <a:satOff val="0"/>
                <a:lumOff val="0"/>
                <a:alphaOff val="0"/>
                <a:satMod val="103000"/>
                <a:lumMod val="102000"/>
                <a:tint val="94000"/>
              </a:schemeClr>
            </a:gs>
            <a:gs pos="50000">
              <a:schemeClr val="accent1">
                <a:shade val="50000"/>
                <a:hueOff val="0"/>
                <a:satOff val="0"/>
                <a:lumOff val="0"/>
                <a:alphaOff val="0"/>
                <a:satMod val="110000"/>
                <a:lumMod val="100000"/>
                <a:shade val="100000"/>
              </a:schemeClr>
            </a:gs>
            <a:gs pos="100000">
              <a:schemeClr val="accent1">
                <a:shade val="50000"/>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64770" tIns="64770" rIns="64770" bIns="64770" numCol="1" spcCol="1270" anchor="t" anchorCtr="0">
          <a:noAutofit/>
        </a:bodyPr>
        <a:lstStyle/>
        <a:p>
          <a:pPr marL="0" lvl="0" indent="0" algn="l" defTabSz="755650" rtl="0">
            <a:lnSpc>
              <a:spcPct val="110000"/>
            </a:lnSpc>
            <a:spcBef>
              <a:spcPct val="0"/>
            </a:spcBef>
            <a:spcAft>
              <a:spcPct val="35000"/>
            </a:spcAft>
            <a:buNone/>
          </a:pPr>
          <a:r>
            <a:rPr lang="en-GB" sz="1700" kern="1200" dirty="0">
              <a:latin typeface="Arial"/>
              <a:cs typeface="Arial"/>
            </a:rPr>
            <a:t>Stage 1: Search the databases</a:t>
          </a:r>
        </a:p>
        <a:p>
          <a:pPr marL="114300" lvl="1" indent="-114300" algn="l" defTabSz="577850" rtl="0">
            <a:lnSpc>
              <a:spcPct val="110000"/>
            </a:lnSpc>
            <a:spcBef>
              <a:spcPct val="0"/>
            </a:spcBef>
            <a:spcAft>
              <a:spcPct val="15000"/>
            </a:spcAft>
            <a:buChar char="•"/>
          </a:pPr>
          <a:r>
            <a:rPr lang="en-GB" sz="1300" kern="1200" dirty="0">
              <a:latin typeface="Arial"/>
              <a:cs typeface="Arial"/>
            </a:rPr>
            <a:t>Papers found:</a:t>
          </a:r>
        </a:p>
        <a:p>
          <a:pPr marL="228600" lvl="2" indent="-114300" algn="l" defTabSz="577850" rtl="0">
            <a:lnSpc>
              <a:spcPct val="110000"/>
            </a:lnSpc>
            <a:spcBef>
              <a:spcPct val="0"/>
            </a:spcBef>
            <a:spcAft>
              <a:spcPct val="15000"/>
            </a:spcAft>
            <a:buChar char="•"/>
          </a:pPr>
          <a:r>
            <a:rPr lang="en-GB" sz="1300" kern="1200" dirty="0">
              <a:latin typeface="Arial"/>
              <a:cs typeface="Arial"/>
            </a:rPr>
            <a:t>Diabetes = 407</a:t>
          </a:r>
        </a:p>
        <a:p>
          <a:pPr marL="228600" lvl="2" indent="-114300" algn="l" defTabSz="577850" rtl="0">
            <a:lnSpc>
              <a:spcPct val="110000"/>
            </a:lnSpc>
            <a:spcBef>
              <a:spcPct val="0"/>
            </a:spcBef>
            <a:spcAft>
              <a:spcPct val="15000"/>
            </a:spcAft>
            <a:buChar char="•"/>
          </a:pPr>
          <a:r>
            <a:rPr lang="en-GB" sz="1300" kern="1200" dirty="0">
              <a:latin typeface="Arial"/>
              <a:cs typeface="Arial"/>
            </a:rPr>
            <a:t>MSK = 304</a:t>
          </a:r>
        </a:p>
        <a:p>
          <a:pPr marL="228600" lvl="2" indent="-114300" algn="l" defTabSz="577850" rtl="0">
            <a:lnSpc>
              <a:spcPct val="110000"/>
            </a:lnSpc>
            <a:spcBef>
              <a:spcPct val="0"/>
            </a:spcBef>
            <a:spcAft>
              <a:spcPct val="15000"/>
            </a:spcAft>
            <a:buChar char="•"/>
          </a:pPr>
          <a:r>
            <a:rPr lang="en-GB" sz="1300" kern="1200" dirty="0">
              <a:latin typeface="Arial"/>
              <a:cs typeface="Arial"/>
            </a:rPr>
            <a:t>COPD = 129</a:t>
          </a:r>
        </a:p>
      </dsp:txBody>
      <dsp:txXfrm>
        <a:off x="1598465" y="2888"/>
        <a:ext cx="3756637" cy="2253982"/>
      </dsp:txXfrm>
    </dsp:sp>
    <dsp:sp modelId="{7079CB69-7101-47EC-8CF3-8FD234DE83B0}">
      <dsp:nvSpPr>
        <dsp:cNvPr id="0" name=""/>
        <dsp:cNvSpPr/>
      </dsp:nvSpPr>
      <dsp:spPr>
        <a:xfrm>
          <a:off x="5730766" y="2888"/>
          <a:ext cx="3756637" cy="2253982"/>
        </a:xfrm>
        <a:prstGeom prst="rect">
          <a:avLst/>
        </a:prstGeom>
        <a:gradFill rotWithShape="0">
          <a:gsLst>
            <a:gs pos="0">
              <a:schemeClr val="accent1">
                <a:shade val="50000"/>
                <a:hueOff val="149856"/>
                <a:satOff val="-7429"/>
                <a:lumOff val="21844"/>
                <a:alphaOff val="0"/>
                <a:satMod val="103000"/>
                <a:lumMod val="102000"/>
                <a:tint val="94000"/>
              </a:schemeClr>
            </a:gs>
            <a:gs pos="50000">
              <a:schemeClr val="accent1">
                <a:shade val="50000"/>
                <a:hueOff val="149856"/>
                <a:satOff val="-7429"/>
                <a:lumOff val="21844"/>
                <a:alphaOff val="0"/>
                <a:satMod val="110000"/>
                <a:lumMod val="100000"/>
                <a:shade val="100000"/>
              </a:schemeClr>
            </a:gs>
            <a:gs pos="100000">
              <a:schemeClr val="accent1">
                <a:shade val="50000"/>
                <a:hueOff val="149856"/>
                <a:satOff val="-7429"/>
                <a:lumOff val="21844"/>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64770" tIns="64770" rIns="64770" bIns="64770" numCol="1" spcCol="1270" anchor="t" anchorCtr="0">
          <a:noAutofit/>
        </a:bodyPr>
        <a:lstStyle/>
        <a:p>
          <a:pPr marL="0" lvl="0" indent="0" algn="l" defTabSz="755650" rtl="0">
            <a:lnSpc>
              <a:spcPct val="110000"/>
            </a:lnSpc>
            <a:spcBef>
              <a:spcPct val="0"/>
            </a:spcBef>
            <a:spcAft>
              <a:spcPct val="35000"/>
            </a:spcAft>
            <a:buNone/>
          </a:pPr>
          <a:r>
            <a:rPr lang="en-GB" sz="1700" kern="1200" dirty="0">
              <a:latin typeface="Arial"/>
              <a:cs typeface="Arial"/>
            </a:rPr>
            <a:t>Stage 2: Initial screening (relevance scoring)</a:t>
          </a:r>
        </a:p>
        <a:p>
          <a:pPr marL="114300" lvl="1" indent="-114300" algn="l" defTabSz="577850" rtl="0">
            <a:lnSpc>
              <a:spcPct val="110000"/>
            </a:lnSpc>
            <a:spcBef>
              <a:spcPct val="0"/>
            </a:spcBef>
            <a:spcAft>
              <a:spcPct val="15000"/>
            </a:spcAft>
            <a:buChar char="•"/>
          </a:pPr>
          <a:r>
            <a:rPr lang="en-GB" sz="1300" kern="1200" dirty="0">
              <a:latin typeface="Arial"/>
              <a:cs typeface="Arial"/>
            </a:rPr>
            <a:t>Scored for relevance</a:t>
          </a:r>
        </a:p>
        <a:p>
          <a:pPr marL="114300" lvl="1" indent="-114300" algn="l" defTabSz="577850" rtl="0">
            <a:lnSpc>
              <a:spcPct val="110000"/>
            </a:lnSpc>
            <a:spcBef>
              <a:spcPct val="0"/>
            </a:spcBef>
            <a:spcAft>
              <a:spcPct val="15000"/>
            </a:spcAft>
            <a:buChar char="•"/>
          </a:pPr>
          <a:r>
            <a:rPr lang="en-GB" sz="1300" kern="1200" dirty="0">
              <a:latin typeface="Arial"/>
              <a:cs typeface="Arial"/>
            </a:rPr>
            <a:t>Papers left: </a:t>
          </a:r>
        </a:p>
        <a:p>
          <a:pPr marL="228600" lvl="2" indent="-114300" algn="l" defTabSz="577850" rtl="0">
            <a:lnSpc>
              <a:spcPct val="110000"/>
            </a:lnSpc>
            <a:spcBef>
              <a:spcPct val="0"/>
            </a:spcBef>
            <a:spcAft>
              <a:spcPct val="15000"/>
            </a:spcAft>
            <a:buChar char="•"/>
          </a:pPr>
          <a:r>
            <a:rPr lang="en-GB" sz="1300" kern="1200" dirty="0">
              <a:latin typeface="Arial"/>
              <a:cs typeface="Arial"/>
            </a:rPr>
            <a:t>Diabetes = 258</a:t>
          </a:r>
          <a:endParaRPr lang="en-US" sz="1300" kern="1200" dirty="0">
            <a:latin typeface="Arial"/>
            <a:cs typeface="Arial"/>
          </a:endParaRPr>
        </a:p>
        <a:p>
          <a:pPr marL="228600" lvl="2" indent="-114300" algn="l" defTabSz="577850">
            <a:lnSpc>
              <a:spcPct val="110000"/>
            </a:lnSpc>
            <a:spcBef>
              <a:spcPct val="0"/>
            </a:spcBef>
            <a:spcAft>
              <a:spcPct val="15000"/>
            </a:spcAft>
            <a:buChar char="•"/>
          </a:pPr>
          <a:r>
            <a:rPr lang="en-GB" sz="1300" kern="1200" dirty="0">
              <a:latin typeface="Arial"/>
              <a:cs typeface="Arial"/>
            </a:rPr>
            <a:t>MSK = 155</a:t>
          </a:r>
          <a:endParaRPr lang="en-US" sz="1300" kern="1200" dirty="0">
            <a:latin typeface="Arial"/>
            <a:cs typeface="Arial"/>
          </a:endParaRPr>
        </a:p>
        <a:p>
          <a:pPr marL="228600" lvl="2" indent="-114300" algn="l" defTabSz="577850">
            <a:lnSpc>
              <a:spcPct val="110000"/>
            </a:lnSpc>
            <a:spcBef>
              <a:spcPct val="0"/>
            </a:spcBef>
            <a:spcAft>
              <a:spcPct val="15000"/>
            </a:spcAft>
            <a:buChar char="•"/>
          </a:pPr>
          <a:r>
            <a:rPr lang="en-GB" sz="1300" kern="1200" dirty="0">
              <a:latin typeface="Arial"/>
              <a:cs typeface="Arial"/>
            </a:rPr>
            <a:t>COPD = 95</a:t>
          </a:r>
        </a:p>
      </dsp:txBody>
      <dsp:txXfrm>
        <a:off x="5730766" y="2888"/>
        <a:ext cx="3756637" cy="2253982"/>
      </dsp:txXfrm>
    </dsp:sp>
    <dsp:sp modelId="{82A20443-8B9F-4189-923A-1D161ACB0C83}">
      <dsp:nvSpPr>
        <dsp:cNvPr id="0" name=""/>
        <dsp:cNvSpPr/>
      </dsp:nvSpPr>
      <dsp:spPr>
        <a:xfrm>
          <a:off x="1598465" y="2632534"/>
          <a:ext cx="3756637" cy="2253982"/>
        </a:xfrm>
        <a:prstGeom prst="rect">
          <a:avLst/>
        </a:prstGeom>
        <a:gradFill rotWithShape="0">
          <a:gsLst>
            <a:gs pos="0">
              <a:schemeClr val="accent1">
                <a:shade val="50000"/>
                <a:hueOff val="299713"/>
                <a:satOff val="-14859"/>
                <a:lumOff val="43687"/>
                <a:alphaOff val="0"/>
                <a:satMod val="103000"/>
                <a:lumMod val="102000"/>
                <a:tint val="94000"/>
              </a:schemeClr>
            </a:gs>
            <a:gs pos="50000">
              <a:schemeClr val="accent1">
                <a:shade val="50000"/>
                <a:hueOff val="299713"/>
                <a:satOff val="-14859"/>
                <a:lumOff val="43687"/>
                <a:alphaOff val="0"/>
                <a:satMod val="110000"/>
                <a:lumMod val="100000"/>
                <a:shade val="100000"/>
              </a:schemeClr>
            </a:gs>
            <a:gs pos="100000">
              <a:schemeClr val="accent1">
                <a:shade val="50000"/>
                <a:hueOff val="299713"/>
                <a:satOff val="-14859"/>
                <a:lumOff val="43687"/>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64770" tIns="64770" rIns="64770" bIns="64770" numCol="1" spcCol="1270" anchor="t" anchorCtr="0">
          <a:noAutofit/>
        </a:bodyPr>
        <a:lstStyle/>
        <a:p>
          <a:pPr marL="0" lvl="0" indent="0" algn="l" defTabSz="755650" rtl="0">
            <a:lnSpc>
              <a:spcPct val="110000"/>
            </a:lnSpc>
            <a:spcBef>
              <a:spcPct val="0"/>
            </a:spcBef>
            <a:spcAft>
              <a:spcPct val="35000"/>
            </a:spcAft>
            <a:buNone/>
          </a:pPr>
          <a:r>
            <a:rPr lang="en-GB" sz="1700" kern="1200" dirty="0">
              <a:latin typeface="Arial"/>
              <a:cs typeface="Arial"/>
            </a:rPr>
            <a:t>Stage 3: Longlisting (algorithmic search of abstracts)</a:t>
          </a:r>
        </a:p>
        <a:p>
          <a:pPr marL="114300" lvl="1" indent="-114300" algn="l" defTabSz="577850" rtl="0">
            <a:lnSpc>
              <a:spcPct val="110000"/>
            </a:lnSpc>
            <a:spcBef>
              <a:spcPct val="0"/>
            </a:spcBef>
            <a:spcAft>
              <a:spcPct val="15000"/>
            </a:spcAft>
            <a:buChar char="•"/>
          </a:pPr>
          <a:r>
            <a:rPr lang="en-GB" sz="1300" kern="1200" dirty="0">
              <a:latin typeface="Arial"/>
              <a:cs typeface="Arial"/>
            </a:rPr>
            <a:t>Excel algorithm to identify relevant keywords within abstract</a:t>
          </a:r>
        </a:p>
        <a:p>
          <a:pPr marL="114300" lvl="1" indent="-114300" algn="l" defTabSz="577850" rtl="0">
            <a:lnSpc>
              <a:spcPct val="110000"/>
            </a:lnSpc>
            <a:spcBef>
              <a:spcPct val="0"/>
            </a:spcBef>
            <a:spcAft>
              <a:spcPct val="15000"/>
            </a:spcAft>
            <a:buChar char="•"/>
          </a:pPr>
          <a:r>
            <a:rPr lang="en-GB" sz="1300" kern="1200" dirty="0">
              <a:latin typeface="Arial"/>
              <a:cs typeface="Arial"/>
            </a:rPr>
            <a:t>Papers left:</a:t>
          </a:r>
        </a:p>
        <a:p>
          <a:pPr marL="228600" lvl="2" indent="-114300" algn="l" defTabSz="577850" rtl="0">
            <a:lnSpc>
              <a:spcPct val="110000"/>
            </a:lnSpc>
            <a:spcBef>
              <a:spcPct val="0"/>
            </a:spcBef>
            <a:spcAft>
              <a:spcPct val="15000"/>
            </a:spcAft>
            <a:buChar char="•"/>
          </a:pPr>
          <a:r>
            <a:rPr lang="en-GB" sz="1300" kern="1200" dirty="0">
              <a:latin typeface="Arial"/>
              <a:cs typeface="Arial"/>
            </a:rPr>
            <a:t>Diabetes = 33</a:t>
          </a:r>
          <a:endParaRPr lang="en-US" sz="1300" kern="1200" dirty="0">
            <a:latin typeface="Arial"/>
            <a:cs typeface="Arial"/>
          </a:endParaRPr>
        </a:p>
        <a:p>
          <a:pPr marL="228600" lvl="2" indent="-114300" algn="l" defTabSz="577850">
            <a:lnSpc>
              <a:spcPct val="110000"/>
            </a:lnSpc>
            <a:spcBef>
              <a:spcPct val="0"/>
            </a:spcBef>
            <a:spcAft>
              <a:spcPct val="15000"/>
            </a:spcAft>
            <a:buChar char="•"/>
          </a:pPr>
          <a:r>
            <a:rPr lang="en-GB" sz="1300" kern="1200" dirty="0">
              <a:latin typeface="Arial"/>
              <a:cs typeface="Arial"/>
            </a:rPr>
            <a:t>MSK = 19</a:t>
          </a:r>
          <a:endParaRPr lang="en-US" sz="1300" kern="1200" dirty="0">
            <a:latin typeface="Arial"/>
            <a:cs typeface="Arial"/>
          </a:endParaRPr>
        </a:p>
        <a:p>
          <a:pPr marL="228600" lvl="2" indent="-114300" algn="l" defTabSz="577850">
            <a:lnSpc>
              <a:spcPct val="110000"/>
            </a:lnSpc>
            <a:spcBef>
              <a:spcPct val="0"/>
            </a:spcBef>
            <a:spcAft>
              <a:spcPct val="15000"/>
            </a:spcAft>
            <a:buChar char="•"/>
          </a:pPr>
          <a:r>
            <a:rPr lang="en-GB" sz="1300" kern="1200" dirty="0">
              <a:latin typeface="Arial"/>
              <a:cs typeface="Arial"/>
            </a:rPr>
            <a:t>COPD = 13</a:t>
          </a:r>
        </a:p>
      </dsp:txBody>
      <dsp:txXfrm>
        <a:off x="1598465" y="2632534"/>
        <a:ext cx="3756637" cy="2253982"/>
      </dsp:txXfrm>
    </dsp:sp>
    <dsp:sp modelId="{92C6E05B-3B5F-4EF0-90F3-B60BB1B9BE85}">
      <dsp:nvSpPr>
        <dsp:cNvPr id="0" name=""/>
        <dsp:cNvSpPr/>
      </dsp:nvSpPr>
      <dsp:spPr>
        <a:xfrm>
          <a:off x="5730766" y="2632534"/>
          <a:ext cx="3756637" cy="2253982"/>
        </a:xfrm>
        <a:prstGeom prst="rect">
          <a:avLst/>
        </a:prstGeom>
        <a:gradFill rotWithShape="0">
          <a:gsLst>
            <a:gs pos="0">
              <a:schemeClr val="accent1">
                <a:shade val="50000"/>
                <a:hueOff val="149856"/>
                <a:satOff val="-7429"/>
                <a:lumOff val="21844"/>
                <a:alphaOff val="0"/>
                <a:satMod val="103000"/>
                <a:lumMod val="102000"/>
                <a:tint val="94000"/>
              </a:schemeClr>
            </a:gs>
            <a:gs pos="50000">
              <a:schemeClr val="accent1">
                <a:shade val="50000"/>
                <a:hueOff val="149856"/>
                <a:satOff val="-7429"/>
                <a:lumOff val="21844"/>
                <a:alphaOff val="0"/>
                <a:satMod val="110000"/>
                <a:lumMod val="100000"/>
                <a:shade val="100000"/>
              </a:schemeClr>
            </a:gs>
            <a:gs pos="100000">
              <a:schemeClr val="accent1">
                <a:shade val="50000"/>
                <a:hueOff val="149856"/>
                <a:satOff val="-7429"/>
                <a:lumOff val="21844"/>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64770" tIns="64770" rIns="64770" bIns="64770" numCol="1" spcCol="1270" anchor="t" anchorCtr="0">
          <a:noAutofit/>
        </a:bodyPr>
        <a:lstStyle/>
        <a:p>
          <a:pPr marL="0" lvl="0" indent="0" algn="l" defTabSz="755650" rtl="0">
            <a:lnSpc>
              <a:spcPct val="110000"/>
            </a:lnSpc>
            <a:spcBef>
              <a:spcPct val="0"/>
            </a:spcBef>
            <a:spcAft>
              <a:spcPct val="35000"/>
            </a:spcAft>
            <a:buNone/>
          </a:pPr>
          <a:r>
            <a:rPr lang="en-GB" sz="1700" kern="1200" dirty="0">
              <a:latin typeface="Arial"/>
              <a:cs typeface="Arial"/>
            </a:rPr>
            <a:t>Stage 4: shortlisting</a:t>
          </a:r>
        </a:p>
        <a:p>
          <a:pPr marL="114300" lvl="1" indent="-114300" algn="l" defTabSz="577850" rtl="0">
            <a:lnSpc>
              <a:spcPct val="110000"/>
            </a:lnSpc>
            <a:spcBef>
              <a:spcPct val="0"/>
            </a:spcBef>
            <a:spcAft>
              <a:spcPct val="15000"/>
            </a:spcAft>
            <a:buChar char="•"/>
          </a:pPr>
          <a:r>
            <a:rPr lang="en-GB" sz="1300" kern="1200" dirty="0">
              <a:latin typeface="Arial"/>
              <a:cs typeface="Arial"/>
            </a:rPr>
            <a:t>Abstracts scanned for relevance</a:t>
          </a:r>
        </a:p>
        <a:p>
          <a:pPr marL="114300" lvl="1" indent="-114300" algn="l" defTabSz="577850" rtl="0">
            <a:lnSpc>
              <a:spcPct val="110000"/>
            </a:lnSpc>
            <a:spcBef>
              <a:spcPct val="0"/>
            </a:spcBef>
            <a:spcAft>
              <a:spcPct val="15000"/>
            </a:spcAft>
            <a:buChar char="•"/>
          </a:pPr>
          <a:r>
            <a:rPr lang="en-GB" sz="1300" kern="1200">
              <a:latin typeface="Arial"/>
              <a:cs typeface="Arial"/>
            </a:rPr>
            <a:t>Papers </a:t>
          </a:r>
          <a:r>
            <a:rPr lang="en-GB" sz="1300" kern="1200" dirty="0">
              <a:latin typeface="Arial"/>
              <a:cs typeface="Arial"/>
            </a:rPr>
            <a:t>left:</a:t>
          </a:r>
        </a:p>
        <a:p>
          <a:pPr marL="114300" lvl="1" indent="-114300" algn="l" defTabSz="577850" rtl="0">
            <a:lnSpc>
              <a:spcPct val="110000"/>
            </a:lnSpc>
            <a:spcBef>
              <a:spcPct val="0"/>
            </a:spcBef>
            <a:spcAft>
              <a:spcPct val="15000"/>
            </a:spcAft>
            <a:buChar char="•"/>
          </a:pPr>
          <a:r>
            <a:rPr lang="en-GB" sz="1300" kern="1200" dirty="0">
              <a:latin typeface="Arial"/>
              <a:cs typeface="Arial"/>
            </a:rPr>
            <a:t>Diabetes = 19</a:t>
          </a:r>
          <a:endParaRPr lang="en-US" sz="1300" kern="1200" dirty="0">
            <a:latin typeface="Arial"/>
            <a:cs typeface="Arial"/>
          </a:endParaRPr>
        </a:p>
        <a:p>
          <a:pPr marL="114300" lvl="1" indent="-114300" algn="l" defTabSz="577850">
            <a:lnSpc>
              <a:spcPct val="110000"/>
            </a:lnSpc>
            <a:spcBef>
              <a:spcPct val="0"/>
            </a:spcBef>
            <a:spcAft>
              <a:spcPct val="15000"/>
            </a:spcAft>
            <a:buChar char="•"/>
          </a:pPr>
          <a:r>
            <a:rPr lang="en-GB" sz="1300" kern="1200" dirty="0">
              <a:latin typeface="Arial"/>
              <a:cs typeface="Arial"/>
            </a:rPr>
            <a:t>MSK = 15</a:t>
          </a:r>
          <a:endParaRPr lang="en-US" sz="1300" kern="1200" dirty="0">
            <a:latin typeface="Arial"/>
            <a:cs typeface="Arial"/>
          </a:endParaRPr>
        </a:p>
        <a:p>
          <a:pPr marL="114300" lvl="1" indent="-114300" algn="l" defTabSz="577850">
            <a:lnSpc>
              <a:spcPct val="110000"/>
            </a:lnSpc>
            <a:spcBef>
              <a:spcPct val="0"/>
            </a:spcBef>
            <a:spcAft>
              <a:spcPct val="15000"/>
            </a:spcAft>
            <a:buChar char="•"/>
          </a:pPr>
          <a:r>
            <a:rPr lang="en-GB" sz="1300" kern="1200" dirty="0">
              <a:latin typeface="Arial"/>
              <a:cs typeface="Arial"/>
            </a:rPr>
            <a:t>COPD = 5</a:t>
          </a:r>
        </a:p>
      </dsp:txBody>
      <dsp:txXfrm>
        <a:off x="5730766" y="2632534"/>
        <a:ext cx="3756637" cy="225398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A0D301-D51B-4325-80B9-36D40315F4DE}">
      <dsp:nvSpPr>
        <dsp:cNvPr id="0" name=""/>
        <dsp:cNvSpPr/>
      </dsp:nvSpPr>
      <dsp:spPr>
        <a:xfrm>
          <a:off x="0" y="232236"/>
          <a:ext cx="10515600" cy="3276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GB" sz="1400" kern="1200" dirty="0"/>
            <a:t>AMSTAR2 (A Measurement Tool to Assess Systematic Reviews) was deployed to assess the quality of the reviews shortlisted</a:t>
          </a:r>
        </a:p>
      </dsp:txBody>
      <dsp:txXfrm>
        <a:off x="15992" y="248228"/>
        <a:ext cx="10483616" cy="295616"/>
      </dsp:txXfrm>
    </dsp:sp>
    <dsp:sp modelId="{3E84246C-ABDF-4194-B604-5CF9AE3F132B}">
      <dsp:nvSpPr>
        <dsp:cNvPr id="0" name=""/>
        <dsp:cNvSpPr/>
      </dsp:nvSpPr>
      <dsp:spPr>
        <a:xfrm>
          <a:off x="0" y="600156"/>
          <a:ext cx="10515600" cy="3276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GB" sz="1400" kern="1200" dirty="0"/>
            <a:t>Among other factors, it assesses</a:t>
          </a:r>
        </a:p>
      </dsp:txBody>
      <dsp:txXfrm>
        <a:off x="15992" y="616148"/>
        <a:ext cx="10483616" cy="295616"/>
      </dsp:txXfrm>
    </dsp:sp>
    <dsp:sp modelId="{108AF9D5-ADD0-4630-AE86-D85F26649CA4}">
      <dsp:nvSpPr>
        <dsp:cNvPr id="0" name=""/>
        <dsp:cNvSpPr/>
      </dsp:nvSpPr>
      <dsp:spPr>
        <a:xfrm>
          <a:off x="0" y="927756"/>
          <a:ext cx="10515600" cy="10722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3870" tIns="17780" rIns="99568" bIns="17780" numCol="1" spcCol="1270" anchor="t" anchorCtr="0">
          <a:noAutofit/>
        </a:bodyPr>
        <a:lstStyle/>
        <a:p>
          <a:pPr marL="57150" lvl="1" indent="-57150" algn="l" defTabSz="488950">
            <a:lnSpc>
              <a:spcPct val="90000"/>
            </a:lnSpc>
            <a:spcBef>
              <a:spcPct val="0"/>
            </a:spcBef>
            <a:spcAft>
              <a:spcPct val="20000"/>
            </a:spcAft>
            <a:buChar char="•"/>
          </a:pPr>
          <a:r>
            <a:rPr lang="en-GB" sz="1100" kern="1200" dirty="0"/>
            <a:t>research questions and inclusion criteria</a:t>
          </a:r>
        </a:p>
        <a:p>
          <a:pPr marL="57150" lvl="1" indent="-57150" algn="l" defTabSz="488950">
            <a:lnSpc>
              <a:spcPct val="90000"/>
            </a:lnSpc>
            <a:spcBef>
              <a:spcPct val="0"/>
            </a:spcBef>
            <a:spcAft>
              <a:spcPct val="20000"/>
            </a:spcAft>
            <a:buChar char="•"/>
          </a:pPr>
          <a:r>
            <a:rPr lang="en-GB" sz="1100" kern="1200" dirty="0"/>
            <a:t>establishment of review methods</a:t>
          </a:r>
        </a:p>
        <a:p>
          <a:pPr marL="57150" lvl="1" indent="-57150" algn="l" defTabSz="488950">
            <a:lnSpc>
              <a:spcPct val="90000"/>
            </a:lnSpc>
            <a:spcBef>
              <a:spcPct val="0"/>
            </a:spcBef>
            <a:spcAft>
              <a:spcPct val="20000"/>
            </a:spcAft>
            <a:buChar char="•"/>
          </a:pPr>
          <a:r>
            <a:rPr lang="en-GB" sz="1100" kern="1200" dirty="0"/>
            <a:t>study selection and data extraction procedures</a:t>
          </a:r>
        </a:p>
        <a:p>
          <a:pPr marL="57150" lvl="1" indent="-57150" algn="l" defTabSz="488950">
            <a:lnSpc>
              <a:spcPct val="90000"/>
            </a:lnSpc>
            <a:spcBef>
              <a:spcPct val="0"/>
            </a:spcBef>
            <a:spcAft>
              <a:spcPct val="20000"/>
            </a:spcAft>
            <a:buChar char="•"/>
          </a:pPr>
          <a:r>
            <a:rPr lang="en-GB" sz="1100" kern="1200" dirty="0"/>
            <a:t>risk of bias assessment</a:t>
          </a:r>
        </a:p>
        <a:p>
          <a:pPr marL="57150" lvl="1" indent="-57150" algn="l" defTabSz="488950">
            <a:lnSpc>
              <a:spcPct val="90000"/>
            </a:lnSpc>
            <a:spcBef>
              <a:spcPct val="0"/>
            </a:spcBef>
            <a:spcAft>
              <a:spcPct val="20000"/>
            </a:spcAft>
            <a:buChar char="•"/>
          </a:pPr>
          <a:r>
            <a:rPr lang="en-GB" sz="1100" kern="1200" dirty="0"/>
            <a:t>data synthesis</a:t>
          </a:r>
        </a:p>
        <a:p>
          <a:pPr marL="57150" lvl="1" indent="-57150" algn="l" defTabSz="488950">
            <a:lnSpc>
              <a:spcPct val="90000"/>
            </a:lnSpc>
            <a:spcBef>
              <a:spcPct val="0"/>
            </a:spcBef>
            <a:spcAft>
              <a:spcPct val="20000"/>
            </a:spcAft>
            <a:buChar char="•"/>
          </a:pPr>
          <a:r>
            <a:rPr lang="en-GB" sz="1100" kern="1200" dirty="0"/>
            <a:t>publication bias investigation</a:t>
          </a:r>
        </a:p>
      </dsp:txBody>
      <dsp:txXfrm>
        <a:off x="0" y="927756"/>
        <a:ext cx="10515600" cy="1072260"/>
      </dsp:txXfrm>
    </dsp:sp>
    <dsp:sp modelId="{4272F110-734B-44A7-A8BF-61AFAF7B600E}">
      <dsp:nvSpPr>
        <dsp:cNvPr id="0" name=""/>
        <dsp:cNvSpPr/>
      </dsp:nvSpPr>
      <dsp:spPr>
        <a:xfrm>
          <a:off x="0" y="2000016"/>
          <a:ext cx="10515600" cy="3276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GB" sz="1400" kern="1200" dirty="0"/>
            <a:t>Scores were weighted, summed and a mean taken to provide comparability</a:t>
          </a:r>
        </a:p>
      </dsp:txBody>
      <dsp:txXfrm>
        <a:off x="15992" y="2016008"/>
        <a:ext cx="10483616" cy="295616"/>
      </dsp:txXfrm>
    </dsp:sp>
    <dsp:sp modelId="{DF0F1C0F-4CF8-4CEE-A00E-85CBA5BF8B33}">
      <dsp:nvSpPr>
        <dsp:cNvPr id="0" name=""/>
        <dsp:cNvSpPr/>
      </dsp:nvSpPr>
      <dsp:spPr>
        <a:xfrm>
          <a:off x="0" y="2367936"/>
          <a:ext cx="10515600" cy="3276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GB" sz="1400" kern="1200" dirty="0"/>
            <a:t>Scores for the reviewed papers:</a:t>
          </a:r>
        </a:p>
      </dsp:txBody>
      <dsp:txXfrm>
        <a:off x="15992" y="2383928"/>
        <a:ext cx="10483616" cy="29561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967B3D-6572-4B2D-9EE2-0D8020DB14E2}">
      <dsp:nvSpPr>
        <dsp:cNvPr id="0" name=""/>
        <dsp:cNvSpPr/>
      </dsp:nvSpPr>
      <dsp:spPr>
        <a:xfrm>
          <a:off x="0" y="522575"/>
          <a:ext cx="3339041" cy="200342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dirty="0"/>
            <a:t>Patient expertise in managing their condition. This includes understanding of their condition, greater efficacy in management, and empowerment</a:t>
          </a:r>
        </a:p>
      </dsp:txBody>
      <dsp:txXfrm>
        <a:off x="0" y="522575"/>
        <a:ext cx="3339041" cy="2003424"/>
      </dsp:txXfrm>
    </dsp:sp>
    <dsp:sp modelId="{79607CDE-06B6-49F1-B542-598EF4940D13}">
      <dsp:nvSpPr>
        <dsp:cNvPr id="0" name=""/>
        <dsp:cNvSpPr/>
      </dsp:nvSpPr>
      <dsp:spPr>
        <a:xfrm>
          <a:off x="3672945" y="522575"/>
          <a:ext cx="3339041" cy="200342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dirty="0"/>
            <a:t>Clinical. Measured using standard clinical outcomes. Evidence varies in strength.</a:t>
          </a:r>
        </a:p>
      </dsp:txBody>
      <dsp:txXfrm>
        <a:off x="3672945" y="522575"/>
        <a:ext cx="3339041" cy="2003424"/>
      </dsp:txXfrm>
    </dsp:sp>
    <dsp:sp modelId="{C5896E8E-2218-46B5-BE91-AD164D39E284}">
      <dsp:nvSpPr>
        <dsp:cNvPr id="0" name=""/>
        <dsp:cNvSpPr/>
      </dsp:nvSpPr>
      <dsp:spPr>
        <a:xfrm>
          <a:off x="7345891" y="522575"/>
          <a:ext cx="3339041" cy="200342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dirty="0"/>
            <a:t>General health, both physical and mental. The review of NICE Guidelines strongly supported this theme.</a:t>
          </a:r>
        </a:p>
      </dsp:txBody>
      <dsp:txXfrm>
        <a:off x="7345891" y="522575"/>
        <a:ext cx="3339041" cy="2003424"/>
      </dsp:txXfrm>
    </dsp:sp>
    <dsp:sp modelId="{296F76AC-EF9E-4B1E-9435-39BA3E717C7B}">
      <dsp:nvSpPr>
        <dsp:cNvPr id="0" name=""/>
        <dsp:cNvSpPr/>
      </dsp:nvSpPr>
      <dsp:spPr>
        <a:xfrm>
          <a:off x="1836472" y="2859905"/>
          <a:ext cx="3339041" cy="200342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dirty="0"/>
            <a:t>System. Clear evidence that PC interventions reduce hospital admissions, at least for COPD and diabetes. </a:t>
          </a:r>
        </a:p>
      </dsp:txBody>
      <dsp:txXfrm>
        <a:off x="1836472" y="2859905"/>
        <a:ext cx="3339041" cy="2003424"/>
      </dsp:txXfrm>
    </dsp:sp>
    <dsp:sp modelId="{C70D5F2F-885C-4E76-B88A-421CD8F48939}">
      <dsp:nvSpPr>
        <dsp:cNvPr id="0" name=""/>
        <dsp:cNvSpPr/>
      </dsp:nvSpPr>
      <dsp:spPr>
        <a:xfrm>
          <a:off x="5509418" y="2859905"/>
          <a:ext cx="3339041" cy="200342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dirty="0"/>
            <a:t>Quality of life/ wellbeing. Factors beyond health that improve the patient’s quality of life.</a:t>
          </a:r>
        </a:p>
      </dsp:txBody>
      <dsp:txXfrm>
        <a:off x="5509418" y="2859905"/>
        <a:ext cx="3339041" cy="200342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BE0FD8-74BD-49BF-85AB-D288D5F9964C}">
      <dsp:nvSpPr>
        <dsp:cNvPr id="0" name=""/>
        <dsp:cNvSpPr/>
      </dsp:nvSpPr>
      <dsp:spPr>
        <a:xfrm rot="5400000">
          <a:off x="6548339" y="-2609874"/>
          <a:ext cx="1204537" cy="6729984"/>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GB" sz="1400" kern="1200" dirty="0"/>
            <a:t>can </a:t>
          </a:r>
          <a:r>
            <a:rPr lang="en-GB" sz="1400" b="1" kern="1200" dirty="0"/>
            <a:t>reduce hospital admissions </a:t>
          </a:r>
          <a:r>
            <a:rPr lang="en-GB" sz="1400" kern="1200" dirty="0"/>
            <a:t>by 4.1% and </a:t>
          </a:r>
          <a:r>
            <a:rPr lang="en-GB" sz="1400" b="1" kern="1200" dirty="0"/>
            <a:t>decrease BP </a:t>
          </a:r>
          <a:r>
            <a:rPr lang="en-GB" sz="1400" kern="1200" dirty="0"/>
            <a:t>by 3.74 mmHg (SBP) and 2.37 mmHg (DBP), approximately 3% and 3.4% respectively</a:t>
          </a:r>
        </a:p>
        <a:p>
          <a:pPr marL="114300" lvl="1" indent="-114300" algn="l" defTabSz="622300">
            <a:lnSpc>
              <a:spcPct val="90000"/>
            </a:lnSpc>
            <a:spcBef>
              <a:spcPct val="0"/>
            </a:spcBef>
            <a:spcAft>
              <a:spcPct val="15000"/>
            </a:spcAft>
            <a:buChar char="•"/>
          </a:pPr>
          <a:r>
            <a:rPr lang="en-GB" sz="1400" kern="1200" dirty="0"/>
            <a:t>mobile phone-based intervention showed </a:t>
          </a:r>
          <a:r>
            <a:rPr lang="en-GB" sz="1400" b="1" kern="1200" dirty="0"/>
            <a:t>significant improvement </a:t>
          </a:r>
          <a:r>
            <a:rPr lang="en-GB" sz="1400" kern="1200" dirty="0"/>
            <a:t>in HbA1c levels</a:t>
          </a:r>
        </a:p>
        <a:p>
          <a:pPr marL="114300" lvl="1" indent="-114300" algn="l" defTabSz="622300">
            <a:lnSpc>
              <a:spcPct val="90000"/>
            </a:lnSpc>
            <a:spcBef>
              <a:spcPct val="0"/>
            </a:spcBef>
            <a:spcAft>
              <a:spcPct val="15000"/>
            </a:spcAft>
            <a:buChar char="•"/>
          </a:pPr>
          <a:r>
            <a:rPr lang="en-GB" sz="1400" kern="1200" dirty="0"/>
            <a:t>wearable insoles </a:t>
          </a:r>
          <a:r>
            <a:rPr lang="en-GB" sz="1400" b="1" kern="1200" dirty="0"/>
            <a:t>reduced diabetic foot ulcer </a:t>
          </a:r>
          <a:r>
            <a:rPr lang="en-GB" sz="1400" kern="1200" dirty="0"/>
            <a:t>occurrence by 86%</a:t>
          </a:r>
        </a:p>
      </dsp:txBody>
      <dsp:txXfrm rot="-5400000">
        <a:off x="3785616" y="211650"/>
        <a:ext cx="6671183" cy="1086935"/>
      </dsp:txXfrm>
    </dsp:sp>
    <dsp:sp modelId="{A011FDEE-6A1B-4EAA-8FA0-C5104FCC9DE0}">
      <dsp:nvSpPr>
        <dsp:cNvPr id="0" name=""/>
        <dsp:cNvSpPr/>
      </dsp:nvSpPr>
      <dsp:spPr>
        <a:xfrm>
          <a:off x="0" y="2281"/>
          <a:ext cx="3785616" cy="150567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GB" sz="2400" kern="1200" dirty="0"/>
            <a:t>telehealth (</a:t>
          </a:r>
          <a:r>
            <a:rPr lang="en-GB" sz="2400" kern="1200" dirty="0" err="1"/>
            <a:t>ie</a:t>
          </a:r>
          <a:r>
            <a:rPr lang="en-GB" sz="2400" kern="1200" dirty="0"/>
            <a:t> web-based programmes, interactive digital interventions, wearables)</a:t>
          </a:r>
        </a:p>
      </dsp:txBody>
      <dsp:txXfrm>
        <a:off x="73501" y="75782"/>
        <a:ext cx="3638614" cy="1358669"/>
      </dsp:txXfrm>
    </dsp:sp>
    <dsp:sp modelId="{1B242AF7-1E26-4A75-8BFA-EB6B51818140}">
      <dsp:nvSpPr>
        <dsp:cNvPr id="0" name=""/>
        <dsp:cNvSpPr/>
      </dsp:nvSpPr>
      <dsp:spPr>
        <a:xfrm rot="5400000">
          <a:off x="6548339" y="-1028919"/>
          <a:ext cx="1204537" cy="6729984"/>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GB" sz="1400" kern="1200" dirty="0"/>
            <a:t>patient education showed </a:t>
          </a:r>
          <a:r>
            <a:rPr lang="en-GB" sz="1400" b="1" kern="1200" dirty="0"/>
            <a:t>a statistically significant reduction </a:t>
          </a:r>
          <a:r>
            <a:rPr lang="en-GB" sz="1400" kern="1200" dirty="0"/>
            <a:t>in fasting blood glucose, and HbA1c</a:t>
          </a:r>
        </a:p>
        <a:p>
          <a:pPr marL="114300" lvl="1" indent="-114300" algn="l" defTabSz="622300">
            <a:lnSpc>
              <a:spcPct val="90000"/>
            </a:lnSpc>
            <a:spcBef>
              <a:spcPct val="0"/>
            </a:spcBef>
            <a:spcAft>
              <a:spcPct val="15000"/>
            </a:spcAft>
            <a:buChar char="•"/>
          </a:pPr>
          <a:r>
            <a:rPr lang="en-GB" sz="1400" kern="1200" dirty="0"/>
            <a:t>patient empowerment </a:t>
          </a:r>
          <a:r>
            <a:rPr lang="en-GB" sz="1400" b="1" kern="1200" dirty="0"/>
            <a:t>reduced glycated haemoglobin </a:t>
          </a:r>
          <a:r>
            <a:rPr lang="en-GB" sz="1400" kern="1200" dirty="0"/>
            <a:t>and </a:t>
          </a:r>
          <a:r>
            <a:rPr lang="en-GB" sz="1400" b="1" kern="1200" dirty="0"/>
            <a:t>increased diabetes empowerment and knowledge </a:t>
          </a:r>
          <a:r>
            <a:rPr lang="en-GB" sz="1400" kern="1200" dirty="0"/>
            <a:t>scores</a:t>
          </a:r>
        </a:p>
      </dsp:txBody>
      <dsp:txXfrm rot="-5400000">
        <a:off x="3785616" y="1792605"/>
        <a:ext cx="6671183" cy="1086935"/>
      </dsp:txXfrm>
    </dsp:sp>
    <dsp:sp modelId="{F8113C40-831C-4A8E-88BC-8B443B2F9CBB}">
      <dsp:nvSpPr>
        <dsp:cNvPr id="0" name=""/>
        <dsp:cNvSpPr/>
      </dsp:nvSpPr>
      <dsp:spPr>
        <a:xfrm>
          <a:off x="0" y="1583236"/>
          <a:ext cx="3785616" cy="150567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GB" sz="2400" kern="1200" dirty="0"/>
            <a:t>education-based (</a:t>
          </a:r>
          <a:r>
            <a:rPr lang="en-GB" sz="2400" kern="1200" dirty="0" err="1"/>
            <a:t>ie</a:t>
          </a:r>
          <a:r>
            <a:rPr lang="en-GB" sz="2400" kern="1200" dirty="0"/>
            <a:t> cognitive reframing, behaviour change)</a:t>
          </a:r>
        </a:p>
      </dsp:txBody>
      <dsp:txXfrm>
        <a:off x="73501" y="1656737"/>
        <a:ext cx="3638614" cy="1358669"/>
      </dsp:txXfrm>
    </dsp:sp>
    <dsp:sp modelId="{88670614-3C18-4072-8817-7C13647FC110}">
      <dsp:nvSpPr>
        <dsp:cNvPr id="0" name=""/>
        <dsp:cNvSpPr/>
      </dsp:nvSpPr>
      <dsp:spPr>
        <a:xfrm rot="5400000">
          <a:off x="6548339" y="552035"/>
          <a:ext cx="1204537" cy="6729984"/>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GB" sz="1400" b="1" kern="1200" dirty="0"/>
            <a:t>pooled mean difference </a:t>
          </a:r>
          <a:r>
            <a:rPr lang="en-GB" sz="1400" kern="1200" dirty="0"/>
            <a:t>of 0.57% for HbA1c</a:t>
          </a:r>
        </a:p>
        <a:p>
          <a:pPr marL="114300" lvl="1" indent="-114300" algn="l" defTabSz="622300">
            <a:lnSpc>
              <a:spcPct val="90000"/>
            </a:lnSpc>
            <a:spcBef>
              <a:spcPct val="0"/>
            </a:spcBef>
            <a:spcAft>
              <a:spcPct val="15000"/>
            </a:spcAft>
            <a:buChar char="•"/>
          </a:pPr>
          <a:r>
            <a:rPr lang="en-GB" sz="1400" kern="1200" dirty="0"/>
            <a:t>interactive digital interventions show </a:t>
          </a:r>
          <a:r>
            <a:rPr lang="en-GB" sz="1400" b="1" kern="1200" dirty="0"/>
            <a:t>reduced SBP </a:t>
          </a:r>
          <a:r>
            <a:rPr lang="en-GB" sz="1400" kern="1200" dirty="0"/>
            <a:t>and </a:t>
          </a:r>
          <a:r>
            <a:rPr lang="en-GB" sz="1400" b="1" kern="1200" dirty="0"/>
            <a:t>better self-efficacy</a:t>
          </a:r>
        </a:p>
        <a:p>
          <a:pPr marL="114300" lvl="1" indent="-114300" algn="l" defTabSz="622300">
            <a:lnSpc>
              <a:spcPct val="90000"/>
            </a:lnSpc>
            <a:spcBef>
              <a:spcPct val="0"/>
            </a:spcBef>
            <a:spcAft>
              <a:spcPct val="15000"/>
            </a:spcAft>
            <a:buChar char="•"/>
          </a:pPr>
          <a:r>
            <a:rPr lang="en-GB" sz="1400" kern="1200" dirty="0"/>
            <a:t>patient education programmes produced a </a:t>
          </a:r>
          <a:r>
            <a:rPr lang="en-GB" sz="1400" b="1" kern="1200" dirty="0"/>
            <a:t>reduction in HbA1c</a:t>
          </a:r>
        </a:p>
      </dsp:txBody>
      <dsp:txXfrm rot="-5400000">
        <a:off x="3785616" y="3373560"/>
        <a:ext cx="6671183" cy="1086935"/>
      </dsp:txXfrm>
    </dsp:sp>
    <dsp:sp modelId="{6B9D0282-44D5-4C00-860C-96601F3D9215}">
      <dsp:nvSpPr>
        <dsp:cNvPr id="0" name=""/>
        <dsp:cNvSpPr/>
      </dsp:nvSpPr>
      <dsp:spPr>
        <a:xfrm>
          <a:off x="0" y="3164191"/>
          <a:ext cx="3785616" cy="150567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GB" sz="2400" kern="1200" dirty="0"/>
            <a:t>decision/ peer support (</a:t>
          </a:r>
          <a:r>
            <a:rPr lang="en-GB" sz="2400" kern="1200" dirty="0" err="1"/>
            <a:t>ie</a:t>
          </a:r>
          <a:r>
            <a:rPr lang="en-GB" sz="2400" kern="1200" dirty="0"/>
            <a:t> trained peer education, social media-based interventions)</a:t>
          </a:r>
        </a:p>
      </dsp:txBody>
      <dsp:txXfrm>
        <a:off x="73501" y="3237692"/>
        <a:ext cx="3638614" cy="1358669"/>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4B01AB2-4409-47E2-8E76-50220B74396E}">
      <dsp:nvSpPr>
        <dsp:cNvPr id="0" name=""/>
        <dsp:cNvSpPr/>
      </dsp:nvSpPr>
      <dsp:spPr>
        <a:xfrm>
          <a:off x="4206239" y="1487"/>
          <a:ext cx="6309360" cy="805252"/>
        </a:xfrm>
        <a:prstGeom prst="rightArrow">
          <a:avLst>
            <a:gd name="adj1" fmla="val 75000"/>
            <a:gd name="adj2" fmla="val 5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255" tIns="8255" rIns="8255" bIns="8255" numCol="1" spcCol="1270" anchor="t" anchorCtr="0">
          <a:noAutofit/>
        </a:bodyPr>
        <a:lstStyle/>
        <a:p>
          <a:pPr marL="114300" lvl="1" indent="-114300" algn="l" defTabSz="577850">
            <a:lnSpc>
              <a:spcPct val="90000"/>
            </a:lnSpc>
            <a:spcBef>
              <a:spcPct val="0"/>
            </a:spcBef>
            <a:spcAft>
              <a:spcPct val="15000"/>
            </a:spcAft>
            <a:buChar char="•"/>
          </a:pPr>
          <a:r>
            <a:rPr lang="en-GB" sz="1300" kern="1200" dirty="0"/>
            <a:t>includes pedometers, smartwatches and intelligent insoles</a:t>
          </a:r>
        </a:p>
        <a:p>
          <a:pPr marL="114300" lvl="1" indent="-114300" algn="l" defTabSz="577850">
            <a:lnSpc>
              <a:spcPct val="90000"/>
            </a:lnSpc>
            <a:spcBef>
              <a:spcPct val="0"/>
            </a:spcBef>
            <a:spcAft>
              <a:spcPct val="15000"/>
            </a:spcAft>
            <a:buChar char="•"/>
          </a:pPr>
          <a:r>
            <a:rPr lang="en-GB" sz="1300" kern="1200" dirty="0"/>
            <a:t>evidence mixed save for Omron pedometer, which was associated with improved functional capacity in inflammatory arthritis</a:t>
          </a:r>
        </a:p>
      </dsp:txBody>
      <dsp:txXfrm>
        <a:off x="4206239" y="102144"/>
        <a:ext cx="6007391" cy="603939"/>
      </dsp:txXfrm>
    </dsp:sp>
    <dsp:sp modelId="{06EC5C9C-37FD-41B4-B4FE-CDCDB9BCDD42}">
      <dsp:nvSpPr>
        <dsp:cNvPr id="0" name=""/>
        <dsp:cNvSpPr/>
      </dsp:nvSpPr>
      <dsp:spPr>
        <a:xfrm>
          <a:off x="0" y="1487"/>
          <a:ext cx="4206240" cy="80525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32385" rIns="64770" bIns="32385" numCol="1" spcCol="1270" anchor="ctr" anchorCtr="0">
          <a:noAutofit/>
        </a:bodyPr>
        <a:lstStyle/>
        <a:p>
          <a:pPr marL="0" lvl="0" indent="0" algn="ctr" defTabSz="755650">
            <a:lnSpc>
              <a:spcPct val="90000"/>
            </a:lnSpc>
            <a:spcBef>
              <a:spcPct val="0"/>
            </a:spcBef>
            <a:spcAft>
              <a:spcPct val="35000"/>
            </a:spcAft>
            <a:buNone/>
          </a:pPr>
          <a:r>
            <a:rPr lang="en-GB" sz="1700" kern="1200" dirty="0"/>
            <a:t>wearables</a:t>
          </a:r>
        </a:p>
      </dsp:txBody>
      <dsp:txXfrm>
        <a:off x="39309" y="40796"/>
        <a:ext cx="4127622" cy="726634"/>
      </dsp:txXfrm>
    </dsp:sp>
    <dsp:sp modelId="{53264435-3E75-466B-8045-3206FB600F30}">
      <dsp:nvSpPr>
        <dsp:cNvPr id="0" name=""/>
        <dsp:cNvSpPr/>
      </dsp:nvSpPr>
      <dsp:spPr>
        <a:xfrm>
          <a:off x="4206239" y="887265"/>
          <a:ext cx="6309360" cy="805252"/>
        </a:xfrm>
        <a:prstGeom prst="rightArrow">
          <a:avLst>
            <a:gd name="adj1" fmla="val 75000"/>
            <a:gd name="adj2" fmla="val 5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255" tIns="8255" rIns="8255" bIns="8255" numCol="1" spcCol="1270" anchor="t" anchorCtr="0">
          <a:noAutofit/>
        </a:bodyPr>
        <a:lstStyle/>
        <a:p>
          <a:pPr marL="114300" lvl="1" indent="-114300" algn="l" defTabSz="577850">
            <a:lnSpc>
              <a:spcPct val="90000"/>
            </a:lnSpc>
            <a:spcBef>
              <a:spcPct val="0"/>
            </a:spcBef>
            <a:spcAft>
              <a:spcPct val="15000"/>
            </a:spcAft>
            <a:buChar char="•"/>
          </a:pPr>
          <a:r>
            <a:rPr lang="en-GB" sz="1300" kern="1200" dirty="0"/>
            <a:t>improved knowledge (p&lt;0.0001)</a:t>
          </a:r>
        </a:p>
        <a:p>
          <a:pPr marL="114300" lvl="1" indent="-114300" algn="l" defTabSz="577850">
            <a:lnSpc>
              <a:spcPct val="90000"/>
            </a:lnSpc>
            <a:spcBef>
              <a:spcPct val="0"/>
            </a:spcBef>
            <a:spcAft>
              <a:spcPct val="15000"/>
            </a:spcAft>
            <a:buChar char="•"/>
          </a:pPr>
          <a:r>
            <a:rPr lang="en-GB" sz="1300" kern="1200" dirty="0"/>
            <a:t>better understanding of personalised risk (p&lt;0.0001)</a:t>
          </a:r>
        </a:p>
        <a:p>
          <a:pPr marL="114300" lvl="1" indent="-114300" algn="l" defTabSz="577850">
            <a:lnSpc>
              <a:spcPct val="90000"/>
            </a:lnSpc>
            <a:spcBef>
              <a:spcPct val="0"/>
            </a:spcBef>
            <a:spcAft>
              <a:spcPct val="15000"/>
            </a:spcAft>
            <a:buChar char="•"/>
          </a:pPr>
          <a:r>
            <a:rPr lang="en-GB" sz="1300" kern="1200" dirty="0"/>
            <a:t>less decisional conflict and more empowerment from clinicians</a:t>
          </a:r>
        </a:p>
      </dsp:txBody>
      <dsp:txXfrm>
        <a:off x="4206239" y="987922"/>
        <a:ext cx="6007391" cy="603939"/>
      </dsp:txXfrm>
    </dsp:sp>
    <dsp:sp modelId="{0B271DE7-697F-44E3-99BC-362ECB94B38F}">
      <dsp:nvSpPr>
        <dsp:cNvPr id="0" name=""/>
        <dsp:cNvSpPr/>
      </dsp:nvSpPr>
      <dsp:spPr>
        <a:xfrm>
          <a:off x="0" y="887265"/>
          <a:ext cx="4206240" cy="80525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32385" rIns="64770" bIns="32385" numCol="1" spcCol="1270" anchor="ctr" anchorCtr="0">
          <a:noAutofit/>
        </a:bodyPr>
        <a:lstStyle/>
        <a:p>
          <a:pPr marL="0" lvl="0" indent="0" algn="ctr" defTabSz="755650">
            <a:lnSpc>
              <a:spcPct val="90000"/>
            </a:lnSpc>
            <a:spcBef>
              <a:spcPct val="0"/>
            </a:spcBef>
            <a:spcAft>
              <a:spcPct val="35000"/>
            </a:spcAft>
            <a:buNone/>
          </a:pPr>
          <a:r>
            <a:rPr lang="en-GB" sz="1700" kern="1200" dirty="0"/>
            <a:t>decision-support tools</a:t>
          </a:r>
        </a:p>
      </dsp:txBody>
      <dsp:txXfrm>
        <a:off x="39309" y="926574"/>
        <a:ext cx="4127622" cy="726634"/>
      </dsp:txXfrm>
    </dsp:sp>
    <dsp:sp modelId="{A3364692-7ABA-4F79-9AF2-505439E5CA63}">
      <dsp:nvSpPr>
        <dsp:cNvPr id="0" name=""/>
        <dsp:cNvSpPr/>
      </dsp:nvSpPr>
      <dsp:spPr>
        <a:xfrm>
          <a:off x="4206239" y="1773042"/>
          <a:ext cx="6309360" cy="805252"/>
        </a:xfrm>
        <a:prstGeom prst="rightArrow">
          <a:avLst>
            <a:gd name="adj1" fmla="val 75000"/>
            <a:gd name="adj2" fmla="val 5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255" tIns="8255" rIns="8255" bIns="8255" numCol="1" spcCol="1270" anchor="t" anchorCtr="0">
          <a:noAutofit/>
        </a:bodyPr>
        <a:lstStyle/>
        <a:p>
          <a:pPr marL="114300" lvl="1" indent="-114300" algn="l" defTabSz="577850">
            <a:lnSpc>
              <a:spcPct val="90000"/>
            </a:lnSpc>
            <a:spcBef>
              <a:spcPct val="0"/>
            </a:spcBef>
            <a:spcAft>
              <a:spcPct val="15000"/>
            </a:spcAft>
            <a:buChar char="•"/>
          </a:pPr>
          <a:r>
            <a:rPr lang="en-GB" sz="1300" kern="1200"/>
            <a:t>reduced school absenteeism by 29%</a:t>
          </a:r>
        </a:p>
        <a:p>
          <a:pPr marL="114300" lvl="1" indent="-114300" algn="l" defTabSz="577850">
            <a:lnSpc>
              <a:spcPct val="90000"/>
            </a:lnSpc>
            <a:spcBef>
              <a:spcPct val="0"/>
            </a:spcBef>
            <a:spcAft>
              <a:spcPct val="15000"/>
            </a:spcAft>
            <a:buChar char="•"/>
          </a:pPr>
          <a:r>
            <a:rPr lang="en-GB" sz="1300" kern="1200" dirty="0"/>
            <a:t>reduction of pain intensity by 17.3%</a:t>
          </a:r>
        </a:p>
        <a:p>
          <a:pPr marL="114300" lvl="1" indent="-114300" algn="l" defTabSz="577850">
            <a:lnSpc>
              <a:spcPct val="90000"/>
            </a:lnSpc>
            <a:spcBef>
              <a:spcPct val="0"/>
            </a:spcBef>
            <a:spcAft>
              <a:spcPct val="15000"/>
            </a:spcAft>
            <a:buChar char="•"/>
          </a:pPr>
          <a:r>
            <a:rPr lang="en-GB" sz="1300" kern="1200"/>
            <a:t>fitbit increased walking by 183.1 min/week</a:t>
          </a:r>
        </a:p>
      </dsp:txBody>
      <dsp:txXfrm>
        <a:off x="4206239" y="1873699"/>
        <a:ext cx="6007391" cy="603939"/>
      </dsp:txXfrm>
    </dsp:sp>
    <dsp:sp modelId="{F08F0BF3-E635-4F5A-81D2-CFEBCE5F8EB2}">
      <dsp:nvSpPr>
        <dsp:cNvPr id="0" name=""/>
        <dsp:cNvSpPr/>
      </dsp:nvSpPr>
      <dsp:spPr>
        <a:xfrm>
          <a:off x="0" y="1773042"/>
          <a:ext cx="4206240" cy="80525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32385" rIns="64770" bIns="32385" numCol="1" spcCol="1270" anchor="ctr" anchorCtr="0">
          <a:noAutofit/>
        </a:bodyPr>
        <a:lstStyle/>
        <a:p>
          <a:pPr marL="0" lvl="0" indent="0" algn="ctr" defTabSz="755650">
            <a:lnSpc>
              <a:spcPct val="90000"/>
            </a:lnSpc>
            <a:spcBef>
              <a:spcPct val="0"/>
            </a:spcBef>
            <a:spcAft>
              <a:spcPct val="35000"/>
            </a:spcAft>
            <a:buNone/>
          </a:pPr>
          <a:r>
            <a:rPr lang="en-GB" sz="1700" kern="1200" dirty="0"/>
            <a:t>telehealth</a:t>
          </a:r>
        </a:p>
      </dsp:txBody>
      <dsp:txXfrm>
        <a:off x="39309" y="1812351"/>
        <a:ext cx="4127622" cy="726634"/>
      </dsp:txXfrm>
    </dsp:sp>
    <dsp:sp modelId="{A61F7DC6-6ADF-4F5E-92B8-1562C0D2E7A7}">
      <dsp:nvSpPr>
        <dsp:cNvPr id="0" name=""/>
        <dsp:cNvSpPr/>
      </dsp:nvSpPr>
      <dsp:spPr>
        <a:xfrm>
          <a:off x="4206240" y="2658820"/>
          <a:ext cx="6309360" cy="805252"/>
        </a:xfrm>
        <a:prstGeom prst="rightArrow">
          <a:avLst>
            <a:gd name="adj1" fmla="val 75000"/>
            <a:gd name="adj2" fmla="val 5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255" tIns="8255" rIns="8255" bIns="8255" numCol="1" spcCol="1270" anchor="t" anchorCtr="0">
          <a:noAutofit/>
        </a:bodyPr>
        <a:lstStyle/>
        <a:p>
          <a:pPr marL="114300" lvl="1" indent="-114300" algn="l" defTabSz="577850">
            <a:lnSpc>
              <a:spcPct val="90000"/>
            </a:lnSpc>
            <a:spcBef>
              <a:spcPct val="0"/>
            </a:spcBef>
            <a:spcAft>
              <a:spcPct val="15000"/>
            </a:spcAft>
            <a:buChar char="•"/>
          </a:pPr>
          <a:r>
            <a:rPr lang="en-GB" sz="1300" kern="1200" dirty="0"/>
            <a:t>better pain management and less catastrophising (SMD (standardised mean difference) 20.42, 95% CI)</a:t>
          </a:r>
        </a:p>
        <a:p>
          <a:pPr marL="114300" lvl="1" indent="-114300" algn="l" defTabSz="577850">
            <a:lnSpc>
              <a:spcPct val="90000"/>
            </a:lnSpc>
            <a:spcBef>
              <a:spcPct val="0"/>
            </a:spcBef>
            <a:spcAft>
              <a:spcPct val="15000"/>
            </a:spcAft>
            <a:buChar char="•"/>
          </a:pPr>
          <a:r>
            <a:rPr lang="en-GB" sz="1300" kern="1200"/>
            <a:t>mean VAS (visual analogue score) for pain showed a reduction of 0.8 points</a:t>
          </a:r>
        </a:p>
      </dsp:txBody>
      <dsp:txXfrm>
        <a:off x="4206240" y="2759477"/>
        <a:ext cx="6007391" cy="603939"/>
      </dsp:txXfrm>
    </dsp:sp>
    <dsp:sp modelId="{778DEBCF-7255-478D-BB91-5E7DDF1B59BE}">
      <dsp:nvSpPr>
        <dsp:cNvPr id="0" name=""/>
        <dsp:cNvSpPr/>
      </dsp:nvSpPr>
      <dsp:spPr>
        <a:xfrm>
          <a:off x="0" y="2658820"/>
          <a:ext cx="4206240" cy="80525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32385" rIns="64770" bIns="32385" numCol="1" spcCol="1270" anchor="ctr" anchorCtr="0">
          <a:noAutofit/>
        </a:bodyPr>
        <a:lstStyle/>
        <a:p>
          <a:pPr marL="0" lvl="0" indent="0" algn="ctr" defTabSz="755650">
            <a:lnSpc>
              <a:spcPct val="90000"/>
            </a:lnSpc>
            <a:spcBef>
              <a:spcPct val="0"/>
            </a:spcBef>
            <a:spcAft>
              <a:spcPct val="35000"/>
            </a:spcAft>
            <a:buNone/>
          </a:pPr>
          <a:r>
            <a:rPr lang="en-GB" sz="1700" kern="1200" dirty="0"/>
            <a:t>self-management education boosters with physical and psychological therapies</a:t>
          </a:r>
        </a:p>
      </dsp:txBody>
      <dsp:txXfrm>
        <a:off x="39309" y="2698129"/>
        <a:ext cx="4127622" cy="726634"/>
      </dsp:txXfrm>
    </dsp:sp>
    <dsp:sp modelId="{BCEABCC2-877E-4825-801C-F97FA48E9333}">
      <dsp:nvSpPr>
        <dsp:cNvPr id="0" name=""/>
        <dsp:cNvSpPr/>
      </dsp:nvSpPr>
      <dsp:spPr>
        <a:xfrm>
          <a:off x="4206240" y="3544598"/>
          <a:ext cx="6309360" cy="805252"/>
        </a:xfrm>
        <a:prstGeom prst="rightArrow">
          <a:avLst>
            <a:gd name="adj1" fmla="val 75000"/>
            <a:gd name="adj2" fmla="val 5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255" tIns="8255" rIns="8255" bIns="8255" numCol="1" spcCol="1270" anchor="t" anchorCtr="0">
          <a:noAutofit/>
        </a:bodyPr>
        <a:lstStyle/>
        <a:p>
          <a:pPr marL="114300" lvl="1" indent="-114300" algn="l" defTabSz="577850">
            <a:lnSpc>
              <a:spcPct val="90000"/>
            </a:lnSpc>
            <a:spcBef>
              <a:spcPct val="0"/>
            </a:spcBef>
            <a:spcAft>
              <a:spcPct val="15000"/>
            </a:spcAft>
            <a:buChar char="•"/>
          </a:pPr>
          <a:r>
            <a:rPr lang="en-GB" sz="1300" kern="1200"/>
            <a:t>showed a pain reduction of 5.7%</a:t>
          </a:r>
        </a:p>
        <a:p>
          <a:pPr marL="114300" lvl="1" indent="-114300" algn="l" defTabSz="577850">
            <a:lnSpc>
              <a:spcPct val="90000"/>
            </a:lnSpc>
            <a:spcBef>
              <a:spcPct val="0"/>
            </a:spcBef>
            <a:spcAft>
              <a:spcPct val="15000"/>
            </a:spcAft>
            <a:buChar char="•"/>
          </a:pPr>
          <a:r>
            <a:rPr lang="en-GB" sz="1300" kern="1200" dirty="0"/>
            <a:t>better than health education by 0.17 SDs (standard deviations)</a:t>
          </a:r>
        </a:p>
      </dsp:txBody>
      <dsp:txXfrm>
        <a:off x="4206240" y="3645255"/>
        <a:ext cx="6007391" cy="603939"/>
      </dsp:txXfrm>
    </dsp:sp>
    <dsp:sp modelId="{A0A9534A-C802-46BE-A7EB-1387F225AA0F}">
      <dsp:nvSpPr>
        <dsp:cNvPr id="0" name=""/>
        <dsp:cNvSpPr/>
      </dsp:nvSpPr>
      <dsp:spPr>
        <a:xfrm>
          <a:off x="0" y="3544598"/>
          <a:ext cx="4206240" cy="80525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32385" rIns="64770" bIns="32385" numCol="1" spcCol="1270" anchor="ctr" anchorCtr="0">
          <a:noAutofit/>
        </a:bodyPr>
        <a:lstStyle/>
        <a:p>
          <a:pPr marL="0" lvl="0" indent="0" algn="ctr" defTabSz="755650">
            <a:lnSpc>
              <a:spcPct val="90000"/>
            </a:lnSpc>
            <a:spcBef>
              <a:spcPct val="0"/>
            </a:spcBef>
            <a:spcAft>
              <a:spcPct val="35000"/>
            </a:spcAft>
            <a:buNone/>
          </a:pPr>
          <a:r>
            <a:rPr lang="en-GB" sz="1700" kern="1200" dirty="0"/>
            <a:t>digital-based SSM</a:t>
          </a:r>
        </a:p>
      </dsp:txBody>
      <dsp:txXfrm>
        <a:off x="39309" y="3583907"/>
        <a:ext cx="4127622" cy="72663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F93EB8-7C5A-4CE4-91F5-6FBB1E8DBB68}">
      <dsp:nvSpPr>
        <dsp:cNvPr id="0" name=""/>
        <dsp:cNvSpPr/>
      </dsp:nvSpPr>
      <dsp:spPr>
        <a:xfrm>
          <a:off x="0" y="3569039"/>
          <a:ext cx="10515600" cy="78081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n-GB" sz="1500" kern="1200" dirty="0"/>
            <a:t>other SSM including education</a:t>
          </a:r>
        </a:p>
      </dsp:txBody>
      <dsp:txXfrm>
        <a:off x="0" y="3569039"/>
        <a:ext cx="10515600" cy="421642"/>
      </dsp:txXfrm>
    </dsp:sp>
    <dsp:sp modelId="{E8B3B2F6-3348-436F-AEB6-962657292EDE}">
      <dsp:nvSpPr>
        <dsp:cNvPr id="0" name=""/>
        <dsp:cNvSpPr/>
      </dsp:nvSpPr>
      <dsp:spPr>
        <a:xfrm>
          <a:off x="1283" y="3975065"/>
          <a:ext cx="2102606" cy="359176"/>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12700" rIns="71120" bIns="12700" numCol="1" spcCol="1270" anchor="ctr" anchorCtr="0">
          <a:noAutofit/>
        </a:bodyPr>
        <a:lstStyle/>
        <a:p>
          <a:pPr marL="0" lvl="0" indent="0" algn="ctr" defTabSz="444500">
            <a:lnSpc>
              <a:spcPct val="90000"/>
            </a:lnSpc>
            <a:spcBef>
              <a:spcPct val="0"/>
            </a:spcBef>
            <a:spcAft>
              <a:spcPct val="35000"/>
            </a:spcAft>
            <a:buNone/>
          </a:pPr>
          <a:r>
            <a:rPr lang="en-GB" sz="1000" kern="1200" dirty="0"/>
            <a:t>smoking cessation, exercise, exacerbation action plan etc</a:t>
          </a:r>
        </a:p>
      </dsp:txBody>
      <dsp:txXfrm>
        <a:off x="1283" y="3975065"/>
        <a:ext cx="2102606" cy="359176"/>
      </dsp:txXfrm>
    </dsp:sp>
    <dsp:sp modelId="{9D4237D2-0DC2-4360-B76D-0FBC52DBCAD5}">
      <dsp:nvSpPr>
        <dsp:cNvPr id="0" name=""/>
        <dsp:cNvSpPr/>
      </dsp:nvSpPr>
      <dsp:spPr>
        <a:xfrm>
          <a:off x="2103890" y="3975065"/>
          <a:ext cx="2102606" cy="359176"/>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12700" rIns="71120" bIns="12700" numCol="1" spcCol="1270" anchor="ctr" anchorCtr="0">
          <a:noAutofit/>
        </a:bodyPr>
        <a:lstStyle/>
        <a:p>
          <a:pPr marL="0" lvl="0" indent="0" algn="ctr" defTabSz="444500">
            <a:lnSpc>
              <a:spcPct val="90000"/>
            </a:lnSpc>
            <a:spcBef>
              <a:spcPct val="0"/>
            </a:spcBef>
            <a:spcAft>
              <a:spcPct val="35000"/>
            </a:spcAft>
            <a:buNone/>
          </a:pPr>
          <a:r>
            <a:rPr lang="en-GB" sz="1000" kern="1200" dirty="0"/>
            <a:t>2.86 lower score on St. George’s Respiratory Questionnaire</a:t>
          </a:r>
        </a:p>
      </dsp:txBody>
      <dsp:txXfrm>
        <a:off x="2103890" y="3975065"/>
        <a:ext cx="2102606" cy="359176"/>
      </dsp:txXfrm>
    </dsp:sp>
    <dsp:sp modelId="{20785A75-C547-4FA3-A42F-339AD78E55F1}">
      <dsp:nvSpPr>
        <dsp:cNvPr id="0" name=""/>
        <dsp:cNvSpPr/>
      </dsp:nvSpPr>
      <dsp:spPr>
        <a:xfrm>
          <a:off x="4206496" y="3975065"/>
          <a:ext cx="2102606" cy="359176"/>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12700" rIns="71120" bIns="12700" numCol="1" spcCol="1270" anchor="ctr" anchorCtr="0">
          <a:noAutofit/>
        </a:bodyPr>
        <a:lstStyle/>
        <a:p>
          <a:pPr marL="0" lvl="0" indent="0" algn="ctr" defTabSz="444500">
            <a:lnSpc>
              <a:spcPct val="90000"/>
            </a:lnSpc>
            <a:spcBef>
              <a:spcPct val="0"/>
            </a:spcBef>
            <a:spcAft>
              <a:spcPct val="35000"/>
            </a:spcAft>
            <a:buNone/>
          </a:pPr>
          <a:r>
            <a:rPr lang="en-GB" sz="1000" kern="1200" dirty="0"/>
            <a:t>lower risk of A&amp;E attendance (HR (Hazard Ratio) -0.52</a:t>
          </a:r>
        </a:p>
      </dsp:txBody>
      <dsp:txXfrm>
        <a:off x="4206496" y="3975065"/>
        <a:ext cx="2102606" cy="359176"/>
      </dsp:txXfrm>
    </dsp:sp>
    <dsp:sp modelId="{9EE42C5F-561D-41A2-A350-030F911960A2}">
      <dsp:nvSpPr>
        <dsp:cNvPr id="0" name=""/>
        <dsp:cNvSpPr/>
      </dsp:nvSpPr>
      <dsp:spPr>
        <a:xfrm>
          <a:off x="6309103" y="3975065"/>
          <a:ext cx="2102606" cy="359176"/>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12700" rIns="71120" bIns="12700" numCol="1" spcCol="1270" anchor="ctr" anchorCtr="0">
          <a:noAutofit/>
        </a:bodyPr>
        <a:lstStyle/>
        <a:p>
          <a:pPr marL="0" lvl="0" indent="0" algn="ctr" defTabSz="444500">
            <a:lnSpc>
              <a:spcPct val="90000"/>
            </a:lnSpc>
            <a:spcBef>
              <a:spcPct val="0"/>
            </a:spcBef>
            <a:spcAft>
              <a:spcPct val="35000"/>
            </a:spcAft>
            <a:buNone/>
          </a:pPr>
          <a:r>
            <a:rPr lang="en-GB" sz="1000" kern="1200" dirty="0"/>
            <a:t>mean difference of 45.14m in walking test</a:t>
          </a:r>
        </a:p>
      </dsp:txBody>
      <dsp:txXfrm>
        <a:off x="6309103" y="3975065"/>
        <a:ext cx="2102606" cy="359176"/>
      </dsp:txXfrm>
    </dsp:sp>
    <dsp:sp modelId="{289B29F1-D10C-4718-93BB-60FB4BE92F84}">
      <dsp:nvSpPr>
        <dsp:cNvPr id="0" name=""/>
        <dsp:cNvSpPr/>
      </dsp:nvSpPr>
      <dsp:spPr>
        <a:xfrm>
          <a:off x="8411709" y="3975065"/>
          <a:ext cx="2102606" cy="359176"/>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12700" rIns="71120" bIns="12700" numCol="1" spcCol="1270" anchor="ctr" anchorCtr="0">
          <a:noAutofit/>
        </a:bodyPr>
        <a:lstStyle/>
        <a:p>
          <a:pPr marL="0" lvl="0" indent="0" algn="ctr" defTabSz="444500">
            <a:lnSpc>
              <a:spcPct val="90000"/>
            </a:lnSpc>
            <a:spcBef>
              <a:spcPct val="0"/>
            </a:spcBef>
            <a:spcAft>
              <a:spcPct val="35000"/>
            </a:spcAft>
            <a:buNone/>
          </a:pPr>
          <a:r>
            <a:rPr lang="en-GB" sz="1000" kern="1200" dirty="0"/>
            <a:t>improved QoL scores</a:t>
          </a:r>
        </a:p>
      </dsp:txBody>
      <dsp:txXfrm>
        <a:off x="8411709" y="3975065"/>
        <a:ext cx="2102606" cy="359176"/>
      </dsp:txXfrm>
    </dsp:sp>
    <dsp:sp modelId="{1BD30136-FBF0-4008-82A8-9E5432D0A186}">
      <dsp:nvSpPr>
        <dsp:cNvPr id="0" name=""/>
        <dsp:cNvSpPr/>
      </dsp:nvSpPr>
      <dsp:spPr>
        <a:xfrm rot="10800000">
          <a:off x="0" y="2379853"/>
          <a:ext cx="10515600" cy="1200899"/>
        </a:xfrm>
        <a:prstGeom prst="upArrowCallou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n-GB" sz="1500" kern="1200" dirty="0"/>
            <a:t>nutritional support</a:t>
          </a:r>
        </a:p>
      </dsp:txBody>
      <dsp:txXfrm rot="-10800000">
        <a:off x="0" y="2379853"/>
        <a:ext cx="10515600" cy="421515"/>
      </dsp:txXfrm>
    </dsp:sp>
    <dsp:sp modelId="{528EC6D6-4C82-46A9-B252-FE1E11055775}">
      <dsp:nvSpPr>
        <dsp:cNvPr id="0" name=""/>
        <dsp:cNvSpPr/>
      </dsp:nvSpPr>
      <dsp:spPr>
        <a:xfrm>
          <a:off x="0" y="2801368"/>
          <a:ext cx="10515600" cy="359068"/>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12700" rIns="71120" bIns="12700" numCol="1" spcCol="1270" anchor="ctr" anchorCtr="0">
          <a:noAutofit/>
        </a:bodyPr>
        <a:lstStyle/>
        <a:p>
          <a:pPr marL="0" lvl="0" indent="0" algn="ctr" defTabSz="444500">
            <a:lnSpc>
              <a:spcPct val="90000"/>
            </a:lnSpc>
            <a:spcBef>
              <a:spcPct val="0"/>
            </a:spcBef>
            <a:spcAft>
              <a:spcPct val="35000"/>
            </a:spcAft>
            <a:buNone/>
          </a:pPr>
          <a:r>
            <a:rPr lang="en-GB" sz="1000" kern="1200" dirty="0"/>
            <a:t>increases in protein intake (p&lt;0.001)</a:t>
          </a:r>
        </a:p>
      </dsp:txBody>
      <dsp:txXfrm>
        <a:off x="0" y="2801368"/>
        <a:ext cx="10515600" cy="359068"/>
      </dsp:txXfrm>
    </dsp:sp>
    <dsp:sp modelId="{C456AF82-E122-4953-A92F-AB53DC015371}">
      <dsp:nvSpPr>
        <dsp:cNvPr id="0" name=""/>
        <dsp:cNvSpPr/>
      </dsp:nvSpPr>
      <dsp:spPr>
        <a:xfrm rot="10800000">
          <a:off x="0" y="1190666"/>
          <a:ext cx="10515600" cy="1200899"/>
        </a:xfrm>
        <a:prstGeom prst="upArrowCallou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n-GB" sz="1500" kern="1200" dirty="0"/>
            <a:t>blended SSM (electronic &amp; f2f)</a:t>
          </a:r>
        </a:p>
      </dsp:txBody>
      <dsp:txXfrm rot="-10800000">
        <a:off x="0" y="1190666"/>
        <a:ext cx="10515600" cy="421515"/>
      </dsp:txXfrm>
    </dsp:sp>
    <dsp:sp modelId="{1A7C2F83-4D6F-41EF-A0B3-1408282C9E7D}">
      <dsp:nvSpPr>
        <dsp:cNvPr id="0" name=""/>
        <dsp:cNvSpPr/>
      </dsp:nvSpPr>
      <dsp:spPr>
        <a:xfrm>
          <a:off x="5134" y="1612181"/>
          <a:ext cx="3501776" cy="359068"/>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12700" rIns="71120" bIns="12700" numCol="1" spcCol="1270" anchor="ctr" anchorCtr="0">
          <a:noAutofit/>
        </a:bodyPr>
        <a:lstStyle/>
        <a:p>
          <a:pPr marL="0" lvl="0" indent="0" algn="ctr" defTabSz="444500">
            <a:lnSpc>
              <a:spcPct val="90000"/>
            </a:lnSpc>
            <a:spcBef>
              <a:spcPct val="0"/>
            </a:spcBef>
            <a:spcAft>
              <a:spcPct val="35000"/>
            </a:spcAft>
            <a:buNone/>
          </a:pPr>
          <a:r>
            <a:rPr lang="en-GB" sz="1000" kern="1200" dirty="0"/>
            <a:t>less frequent exacerbation (RR 0.38)</a:t>
          </a:r>
        </a:p>
      </dsp:txBody>
      <dsp:txXfrm>
        <a:off x="5134" y="1612181"/>
        <a:ext cx="3501776" cy="359068"/>
      </dsp:txXfrm>
    </dsp:sp>
    <dsp:sp modelId="{CA44A7B3-8576-44B2-9C8A-2501523BE836}">
      <dsp:nvSpPr>
        <dsp:cNvPr id="0" name=""/>
        <dsp:cNvSpPr/>
      </dsp:nvSpPr>
      <dsp:spPr>
        <a:xfrm>
          <a:off x="3506911" y="1612181"/>
          <a:ext cx="3501776" cy="359068"/>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12700" rIns="71120" bIns="12700" numCol="1" spcCol="1270" anchor="ctr" anchorCtr="0">
          <a:noAutofit/>
        </a:bodyPr>
        <a:lstStyle/>
        <a:p>
          <a:pPr marL="0" lvl="0" indent="0" algn="ctr" defTabSz="444500">
            <a:lnSpc>
              <a:spcPct val="90000"/>
            </a:lnSpc>
            <a:spcBef>
              <a:spcPct val="0"/>
            </a:spcBef>
            <a:spcAft>
              <a:spcPct val="35000"/>
            </a:spcAft>
            <a:buNone/>
          </a:pPr>
          <a:r>
            <a:rPr lang="en-GB" sz="1000" kern="1200" dirty="0"/>
            <a:t>reduction in BMI (mean difference 0.81)</a:t>
          </a:r>
        </a:p>
      </dsp:txBody>
      <dsp:txXfrm>
        <a:off x="3506911" y="1612181"/>
        <a:ext cx="3501776" cy="359068"/>
      </dsp:txXfrm>
    </dsp:sp>
    <dsp:sp modelId="{3561DD9D-D4CA-42A7-87EC-EAC7DB2C9E51}">
      <dsp:nvSpPr>
        <dsp:cNvPr id="0" name=""/>
        <dsp:cNvSpPr/>
      </dsp:nvSpPr>
      <dsp:spPr>
        <a:xfrm>
          <a:off x="7008688" y="1612181"/>
          <a:ext cx="3501776" cy="359068"/>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12700" rIns="71120" bIns="12700" numCol="1" spcCol="1270" anchor="ctr" anchorCtr="0">
          <a:noAutofit/>
        </a:bodyPr>
        <a:lstStyle/>
        <a:p>
          <a:pPr marL="0" lvl="0" indent="0" algn="ctr" defTabSz="444500">
            <a:lnSpc>
              <a:spcPct val="90000"/>
            </a:lnSpc>
            <a:spcBef>
              <a:spcPct val="0"/>
            </a:spcBef>
            <a:spcAft>
              <a:spcPct val="35000"/>
            </a:spcAft>
            <a:buNone/>
          </a:pPr>
          <a:r>
            <a:rPr lang="en-GB" sz="1000" kern="1200" dirty="0"/>
            <a:t>improved QoL (SMD = 0.81)</a:t>
          </a:r>
        </a:p>
      </dsp:txBody>
      <dsp:txXfrm>
        <a:off x="7008688" y="1612181"/>
        <a:ext cx="3501776" cy="359068"/>
      </dsp:txXfrm>
    </dsp:sp>
    <dsp:sp modelId="{6DC6E014-F030-4F1E-9910-B52561F7E3E5}">
      <dsp:nvSpPr>
        <dsp:cNvPr id="0" name=""/>
        <dsp:cNvSpPr/>
      </dsp:nvSpPr>
      <dsp:spPr>
        <a:xfrm rot="10800000">
          <a:off x="0" y="1479"/>
          <a:ext cx="10515600" cy="1200899"/>
        </a:xfrm>
        <a:prstGeom prst="upArrowCallou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n-GB" sz="2000" kern="1200" dirty="0"/>
            <a:t>health coaching</a:t>
          </a:r>
        </a:p>
      </dsp:txBody>
      <dsp:txXfrm rot="-10800000">
        <a:off x="0" y="1479"/>
        <a:ext cx="10515600" cy="421515"/>
      </dsp:txXfrm>
    </dsp:sp>
    <dsp:sp modelId="{1738E0D7-BB98-47AF-B327-940A93180365}">
      <dsp:nvSpPr>
        <dsp:cNvPr id="0" name=""/>
        <dsp:cNvSpPr/>
      </dsp:nvSpPr>
      <dsp:spPr>
        <a:xfrm>
          <a:off x="0" y="422994"/>
          <a:ext cx="10515600" cy="359068"/>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12700" rIns="71120" bIns="12700" numCol="1" spcCol="1270" anchor="ctr" anchorCtr="0">
          <a:noAutofit/>
        </a:bodyPr>
        <a:lstStyle/>
        <a:p>
          <a:pPr marL="0" lvl="0" indent="0" algn="ctr" defTabSz="444500">
            <a:lnSpc>
              <a:spcPct val="90000"/>
            </a:lnSpc>
            <a:spcBef>
              <a:spcPct val="0"/>
            </a:spcBef>
            <a:spcAft>
              <a:spcPct val="35000"/>
            </a:spcAft>
            <a:buNone/>
          </a:pPr>
          <a:r>
            <a:rPr lang="en-GB" sz="1000" kern="1200" dirty="0"/>
            <a:t>reduction in hospital admissions (OR 0.46, p&lt;0.0001)</a:t>
          </a:r>
        </a:p>
      </dsp:txBody>
      <dsp:txXfrm>
        <a:off x="0" y="422994"/>
        <a:ext cx="10515600" cy="359068"/>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4F08BB-82A7-427A-AC87-3BDFC5DC54D0}">
      <dsp:nvSpPr>
        <dsp:cNvPr id="0" name=""/>
        <dsp:cNvSpPr/>
      </dsp:nvSpPr>
      <dsp:spPr>
        <a:xfrm>
          <a:off x="374488" y="220"/>
          <a:ext cx="2460914" cy="984365"/>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1430" rIns="0" bIns="11430" numCol="1" spcCol="1270" anchor="ctr" anchorCtr="0">
          <a:noAutofit/>
        </a:bodyPr>
        <a:lstStyle/>
        <a:p>
          <a:pPr marL="0" lvl="0" indent="0" algn="ctr" defTabSz="800100">
            <a:lnSpc>
              <a:spcPct val="90000"/>
            </a:lnSpc>
            <a:spcBef>
              <a:spcPct val="0"/>
            </a:spcBef>
            <a:spcAft>
              <a:spcPct val="35000"/>
            </a:spcAft>
            <a:buNone/>
          </a:pPr>
          <a:r>
            <a:rPr lang="en-GB" sz="1800" kern="1200" dirty="0"/>
            <a:t>A strong evidence base</a:t>
          </a:r>
        </a:p>
      </dsp:txBody>
      <dsp:txXfrm>
        <a:off x="866671" y="220"/>
        <a:ext cx="1476549" cy="984365"/>
      </dsp:txXfrm>
    </dsp:sp>
    <dsp:sp modelId="{121D573F-4558-483E-8C4C-F4EC5185EDF9}">
      <dsp:nvSpPr>
        <dsp:cNvPr id="0" name=""/>
        <dsp:cNvSpPr/>
      </dsp:nvSpPr>
      <dsp:spPr>
        <a:xfrm>
          <a:off x="2515483" y="83891"/>
          <a:ext cx="2042558" cy="817023"/>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970" tIns="6985" rIns="0" bIns="6985" numCol="1" spcCol="1270" anchor="ctr" anchorCtr="0">
          <a:noAutofit/>
        </a:bodyPr>
        <a:lstStyle/>
        <a:p>
          <a:pPr marL="0" lvl="0" indent="0" algn="ctr" defTabSz="488950">
            <a:lnSpc>
              <a:spcPct val="90000"/>
            </a:lnSpc>
            <a:spcBef>
              <a:spcPct val="0"/>
            </a:spcBef>
            <a:spcAft>
              <a:spcPct val="35000"/>
            </a:spcAft>
            <a:buNone/>
          </a:pPr>
          <a:r>
            <a:rPr lang="en-GB" sz="1100" kern="1200" dirty="0"/>
            <a:t>varies by condition area</a:t>
          </a:r>
        </a:p>
      </dsp:txBody>
      <dsp:txXfrm>
        <a:off x="2923995" y="83891"/>
        <a:ext cx="1225535" cy="817023"/>
      </dsp:txXfrm>
    </dsp:sp>
    <dsp:sp modelId="{B8436C00-E104-4544-85FF-C313F6438564}">
      <dsp:nvSpPr>
        <dsp:cNvPr id="0" name=""/>
        <dsp:cNvSpPr/>
      </dsp:nvSpPr>
      <dsp:spPr>
        <a:xfrm>
          <a:off x="4272084" y="83891"/>
          <a:ext cx="2042558" cy="817023"/>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970" tIns="6985" rIns="0" bIns="6985" numCol="1" spcCol="1270" anchor="ctr" anchorCtr="0">
          <a:noAutofit/>
        </a:bodyPr>
        <a:lstStyle/>
        <a:p>
          <a:pPr marL="0" lvl="0" indent="0" algn="ctr" defTabSz="488950">
            <a:lnSpc>
              <a:spcPct val="90000"/>
            </a:lnSpc>
            <a:spcBef>
              <a:spcPct val="0"/>
            </a:spcBef>
            <a:spcAft>
              <a:spcPct val="35000"/>
            </a:spcAft>
            <a:buNone/>
          </a:pPr>
          <a:r>
            <a:rPr lang="en-GB" sz="1100" kern="1200" dirty="0"/>
            <a:t>system pressures: supported for COPD, less for diabetes, not for MSK</a:t>
          </a:r>
        </a:p>
      </dsp:txBody>
      <dsp:txXfrm>
        <a:off x="4680596" y="83891"/>
        <a:ext cx="1225535" cy="817023"/>
      </dsp:txXfrm>
    </dsp:sp>
    <dsp:sp modelId="{D5BC9934-38B5-400B-BA7C-13B4A743DCE7}">
      <dsp:nvSpPr>
        <dsp:cNvPr id="0" name=""/>
        <dsp:cNvSpPr/>
      </dsp:nvSpPr>
      <dsp:spPr>
        <a:xfrm>
          <a:off x="6028685" y="83891"/>
          <a:ext cx="2042558" cy="817023"/>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970" tIns="6985" rIns="0" bIns="6985" numCol="1" spcCol="1270" anchor="ctr" anchorCtr="0">
          <a:noAutofit/>
        </a:bodyPr>
        <a:lstStyle/>
        <a:p>
          <a:pPr marL="0" lvl="0" indent="0" algn="ctr" defTabSz="488950">
            <a:lnSpc>
              <a:spcPct val="90000"/>
            </a:lnSpc>
            <a:spcBef>
              <a:spcPct val="0"/>
            </a:spcBef>
            <a:spcAft>
              <a:spcPct val="35000"/>
            </a:spcAft>
            <a:buNone/>
          </a:pPr>
          <a:r>
            <a:rPr lang="en-GB" sz="1100" kern="1200" dirty="0"/>
            <a:t>strong clinical outcomes for diabetes</a:t>
          </a:r>
        </a:p>
      </dsp:txBody>
      <dsp:txXfrm>
        <a:off x="6437197" y="83891"/>
        <a:ext cx="1225535" cy="817023"/>
      </dsp:txXfrm>
    </dsp:sp>
    <dsp:sp modelId="{32C0FCEF-1CB1-4800-B235-2DD56874B56F}">
      <dsp:nvSpPr>
        <dsp:cNvPr id="0" name=""/>
        <dsp:cNvSpPr/>
      </dsp:nvSpPr>
      <dsp:spPr>
        <a:xfrm>
          <a:off x="7785285" y="83891"/>
          <a:ext cx="2042558" cy="817023"/>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970" tIns="6985" rIns="0" bIns="6985" numCol="1" spcCol="1270" anchor="ctr" anchorCtr="0">
          <a:noAutofit/>
        </a:bodyPr>
        <a:lstStyle/>
        <a:p>
          <a:pPr marL="0" lvl="0" indent="0" algn="ctr" defTabSz="488950">
            <a:lnSpc>
              <a:spcPct val="90000"/>
            </a:lnSpc>
            <a:spcBef>
              <a:spcPct val="0"/>
            </a:spcBef>
            <a:spcAft>
              <a:spcPct val="35000"/>
            </a:spcAft>
            <a:buNone/>
          </a:pPr>
          <a:r>
            <a:rPr lang="en-GB" sz="1100" kern="1200" dirty="0"/>
            <a:t>support for healthcare impact for all conditions via indirect routes</a:t>
          </a:r>
        </a:p>
      </dsp:txBody>
      <dsp:txXfrm>
        <a:off x="8193797" y="83891"/>
        <a:ext cx="1225535" cy="817023"/>
      </dsp:txXfrm>
    </dsp:sp>
    <dsp:sp modelId="{B8FD9E42-461F-4179-A3D3-F6339FFBC640}">
      <dsp:nvSpPr>
        <dsp:cNvPr id="0" name=""/>
        <dsp:cNvSpPr/>
      </dsp:nvSpPr>
      <dsp:spPr>
        <a:xfrm>
          <a:off x="374488" y="1122397"/>
          <a:ext cx="2460914" cy="984365"/>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1430" rIns="0" bIns="11430" numCol="1" spcCol="1270" anchor="ctr" anchorCtr="0">
          <a:noAutofit/>
        </a:bodyPr>
        <a:lstStyle/>
        <a:p>
          <a:pPr marL="0" lvl="0" indent="0" algn="ctr" defTabSz="800100">
            <a:lnSpc>
              <a:spcPct val="90000"/>
            </a:lnSpc>
            <a:spcBef>
              <a:spcPct val="0"/>
            </a:spcBef>
            <a:spcAft>
              <a:spcPct val="35000"/>
            </a:spcAft>
            <a:buNone/>
          </a:pPr>
          <a:r>
            <a:rPr lang="en-GB" sz="1800" kern="1200" dirty="0"/>
            <a:t>A key role in improving healthcare</a:t>
          </a:r>
        </a:p>
      </dsp:txBody>
      <dsp:txXfrm>
        <a:off x="866671" y="1122397"/>
        <a:ext cx="1476549" cy="984365"/>
      </dsp:txXfrm>
    </dsp:sp>
    <dsp:sp modelId="{411F87AA-AF6A-4271-99F0-1877B66E6CD6}">
      <dsp:nvSpPr>
        <dsp:cNvPr id="0" name=""/>
        <dsp:cNvSpPr/>
      </dsp:nvSpPr>
      <dsp:spPr>
        <a:xfrm>
          <a:off x="2515483" y="1206068"/>
          <a:ext cx="2042558" cy="817023"/>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970" tIns="6985" rIns="0" bIns="6985" numCol="1" spcCol="1270" anchor="ctr" anchorCtr="0">
          <a:noAutofit/>
        </a:bodyPr>
        <a:lstStyle/>
        <a:p>
          <a:pPr marL="0" lvl="0" indent="0" algn="ctr" defTabSz="488950">
            <a:lnSpc>
              <a:spcPct val="90000"/>
            </a:lnSpc>
            <a:spcBef>
              <a:spcPct val="0"/>
            </a:spcBef>
            <a:spcAft>
              <a:spcPct val="35000"/>
            </a:spcAft>
            <a:buNone/>
          </a:pPr>
          <a:r>
            <a:rPr lang="en-GB" sz="1100" kern="1200" dirty="0"/>
            <a:t>many positive outcomes for all conditions</a:t>
          </a:r>
        </a:p>
      </dsp:txBody>
      <dsp:txXfrm>
        <a:off x="2923995" y="1206068"/>
        <a:ext cx="1225535" cy="817023"/>
      </dsp:txXfrm>
    </dsp:sp>
    <dsp:sp modelId="{C24F9C12-4AA2-4D02-904C-7C7965E0A207}">
      <dsp:nvSpPr>
        <dsp:cNvPr id="0" name=""/>
        <dsp:cNvSpPr/>
      </dsp:nvSpPr>
      <dsp:spPr>
        <a:xfrm>
          <a:off x="4272084" y="1206068"/>
          <a:ext cx="2042558" cy="817023"/>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970" tIns="6985" rIns="0" bIns="6985" numCol="1" spcCol="1270" anchor="ctr" anchorCtr="0">
          <a:noAutofit/>
        </a:bodyPr>
        <a:lstStyle/>
        <a:p>
          <a:pPr marL="0" lvl="0" indent="0" algn="ctr" defTabSz="488950">
            <a:lnSpc>
              <a:spcPct val="90000"/>
            </a:lnSpc>
            <a:spcBef>
              <a:spcPct val="0"/>
            </a:spcBef>
            <a:spcAft>
              <a:spcPct val="35000"/>
            </a:spcAft>
            <a:buNone/>
          </a:pPr>
          <a:r>
            <a:rPr lang="en-GB" sz="1100" kern="1200" dirty="0"/>
            <a:t>improvement via understanding, support, empowerment, feeling in control</a:t>
          </a:r>
        </a:p>
      </dsp:txBody>
      <dsp:txXfrm>
        <a:off x="4680596" y="1206068"/>
        <a:ext cx="1225535" cy="817023"/>
      </dsp:txXfrm>
    </dsp:sp>
    <dsp:sp modelId="{A66F62C5-364D-48BB-880B-514777D9E028}">
      <dsp:nvSpPr>
        <dsp:cNvPr id="0" name=""/>
        <dsp:cNvSpPr/>
      </dsp:nvSpPr>
      <dsp:spPr>
        <a:xfrm>
          <a:off x="374488" y="2244574"/>
          <a:ext cx="2460914" cy="984365"/>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1430" rIns="0" bIns="11430" numCol="1" spcCol="1270" anchor="ctr" anchorCtr="0">
          <a:noAutofit/>
        </a:bodyPr>
        <a:lstStyle/>
        <a:p>
          <a:pPr marL="0" lvl="0" indent="0" algn="ctr" defTabSz="800100">
            <a:lnSpc>
              <a:spcPct val="90000"/>
            </a:lnSpc>
            <a:spcBef>
              <a:spcPct val="0"/>
            </a:spcBef>
            <a:spcAft>
              <a:spcPct val="35000"/>
            </a:spcAft>
            <a:buNone/>
          </a:pPr>
          <a:r>
            <a:rPr lang="en-GB" sz="1800" kern="1200"/>
            <a:t>Aligned to a high priority area for the NHS</a:t>
          </a:r>
        </a:p>
      </dsp:txBody>
      <dsp:txXfrm>
        <a:off x="866671" y="2244574"/>
        <a:ext cx="1476549" cy="984365"/>
      </dsp:txXfrm>
    </dsp:sp>
    <dsp:sp modelId="{39BCB337-33F2-4A6C-B140-5AA09BBC6387}">
      <dsp:nvSpPr>
        <dsp:cNvPr id="0" name=""/>
        <dsp:cNvSpPr/>
      </dsp:nvSpPr>
      <dsp:spPr>
        <a:xfrm>
          <a:off x="2515483" y="2328245"/>
          <a:ext cx="2042558" cy="817023"/>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970" tIns="6985" rIns="0" bIns="6985" numCol="1" spcCol="1270" anchor="ctr" anchorCtr="0">
          <a:noAutofit/>
        </a:bodyPr>
        <a:lstStyle/>
        <a:p>
          <a:pPr marL="0" lvl="0" indent="0" algn="ctr" defTabSz="488950">
            <a:lnSpc>
              <a:spcPct val="90000"/>
            </a:lnSpc>
            <a:spcBef>
              <a:spcPct val="0"/>
            </a:spcBef>
            <a:spcAft>
              <a:spcPct val="35000"/>
            </a:spcAft>
            <a:buNone/>
          </a:pPr>
          <a:r>
            <a:rPr lang="en-GB" sz="1100" kern="1200" dirty="0"/>
            <a:t>not really aligned with policy priorities</a:t>
          </a:r>
        </a:p>
      </dsp:txBody>
      <dsp:txXfrm>
        <a:off x="2923995" y="2328245"/>
        <a:ext cx="1225535" cy="817023"/>
      </dsp:txXfrm>
    </dsp:sp>
    <dsp:sp modelId="{8C3705F0-B48E-408D-950A-214B10174D49}">
      <dsp:nvSpPr>
        <dsp:cNvPr id="0" name=""/>
        <dsp:cNvSpPr/>
      </dsp:nvSpPr>
      <dsp:spPr>
        <a:xfrm>
          <a:off x="4272084" y="2328245"/>
          <a:ext cx="2042558" cy="817023"/>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970" tIns="6985" rIns="0" bIns="6985" numCol="1" spcCol="1270" anchor="ctr" anchorCtr="0">
          <a:noAutofit/>
        </a:bodyPr>
        <a:lstStyle/>
        <a:p>
          <a:pPr marL="0" lvl="0" indent="0" algn="ctr" defTabSz="488950">
            <a:lnSpc>
              <a:spcPct val="90000"/>
            </a:lnSpc>
            <a:spcBef>
              <a:spcPct val="0"/>
            </a:spcBef>
            <a:spcAft>
              <a:spcPct val="35000"/>
            </a:spcAft>
            <a:buNone/>
          </a:pPr>
          <a:r>
            <a:rPr lang="en-GB" sz="1100" kern="1200"/>
            <a:t>argument for deep dive and further research</a:t>
          </a:r>
        </a:p>
      </dsp:txBody>
      <dsp:txXfrm>
        <a:off x="4680596" y="2328245"/>
        <a:ext cx="1225535" cy="817023"/>
      </dsp:txXfrm>
    </dsp:sp>
    <dsp:sp modelId="{E4A3A348-937B-4908-B345-AD9952EAB879}">
      <dsp:nvSpPr>
        <dsp:cNvPr id="0" name=""/>
        <dsp:cNvSpPr/>
      </dsp:nvSpPr>
      <dsp:spPr>
        <a:xfrm>
          <a:off x="374488" y="3366751"/>
          <a:ext cx="2460914" cy="984365"/>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1430" rIns="0" bIns="11430" numCol="1" spcCol="1270" anchor="ctr" anchorCtr="0">
          <a:noAutofit/>
        </a:bodyPr>
        <a:lstStyle/>
        <a:p>
          <a:pPr marL="0" lvl="0" indent="0" algn="ctr" defTabSz="800100">
            <a:lnSpc>
              <a:spcPct val="90000"/>
            </a:lnSpc>
            <a:spcBef>
              <a:spcPct val="0"/>
            </a:spcBef>
            <a:spcAft>
              <a:spcPct val="35000"/>
            </a:spcAft>
            <a:buNone/>
          </a:pPr>
          <a:r>
            <a:rPr lang="en-GB" sz="1800" kern="1200"/>
            <a:t>High impact to current priorities</a:t>
          </a:r>
        </a:p>
      </dsp:txBody>
      <dsp:txXfrm>
        <a:off x="866671" y="3366751"/>
        <a:ext cx="1476549" cy="984365"/>
      </dsp:txXfrm>
    </dsp:sp>
    <dsp:sp modelId="{F90CF330-28E3-4480-86DC-34A11A560526}">
      <dsp:nvSpPr>
        <dsp:cNvPr id="0" name=""/>
        <dsp:cNvSpPr/>
      </dsp:nvSpPr>
      <dsp:spPr>
        <a:xfrm>
          <a:off x="2515483" y="3450422"/>
          <a:ext cx="2042558" cy="817023"/>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970" tIns="6985" rIns="0" bIns="6985" numCol="1" spcCol="1270" anchor="ctr" anchorCtr="0">
          <a:noAutofit/>
        </a:bodyPr>
        <a:lstStyle/>
        <a:p>
          <a:pPr marL="0" lvl="0" indent="0" algn="ctr" defTabSz="488950">
            <a:lnSpc>
              <a:spcPct val="90000"/>
            </a:lnSpc>
            <a:spcBef>
              <a:spcPct val="0"/>
            </a:spcBef>
            <a:spcAft>
              <a:spcPct val="35000"/>
            </a:spcAft>
            <a:buNone/>
          </a:pPr>
          <a:r>
            <a:rPr lang="en-GB" sz="1100" kern="1200" dirty="0"/>
            <a:t>SSM can reduce hospital admissions for COPD and diabetes</a:t>
          </a:r>
        </a:p>
      </dsp:txBody>
      <dsp:txXfrm>
        <a:off x="2923995" y="3450422"/>
        <a:ext cx="1225535" cy="817023"/>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B7E5E8B-1EA0-4F7B-807C-F958CF955532}" type="datetimeFigureOut">
              <a:rPr lang="en-GB" smtClean="0"/>
              <a:t>06/04/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7BA4ACE-565F-4B49-9418-0476064938FC}" type="slidenum">
              <a:rPr lang="en-GB" smtClean="0"/>
              <a:t>‹#›</a:t>
            </a:fld>
            <a:endParaRPr lang="en-GB"/>
          </a:p>
        </p:txBody>
      </p:sp>
    </p:spTree>
    <p:extLst>
      <p:ext uri="{BB962C8B-B14F-4D97-AF65-F5344CB8AC3E}">
        <p14:creationId xmlns:p14="http://schemas.microsoft.com/office/powerpoint/2010/main" val="35990125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7C08F3-E2FB-463B-A3EC-86BB57CFD21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0D1DF27C-65D6-4601-ACE0-E1387EC0D16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6B5CABB1-334F-490E-9D2D-6CB51C76B211}"/>
              </a:ext>
            </a:extLst>
          </p:cNvPr>
          <p:cNvSpPr>
            <a:spLocks noGrp="1"/>
          </p:cNvSpPr>
          <p:nvPr>
            <p:ph type="dt" sz="half" idx="10"/>
          </p:nvPr>
        </p:nvSpPr>
        <p:spPr/>
        <p:txBody>
          <a:bodyPr/>
          <a:lstStyle/>
          <a:p>
            <a:fld id="{7D10B8B5-7AC6-4986-980D-C7A802C24E87}" type="datetimeFigureOut">
              <a:rPr lang="en-GB" smtClean="0"/>
              <a:t>06/04/2023</a:t>
            </a:fld>
            <a:endParaRPr lang="en-GB"/>
          </a:p>
        </p:txBody>
      </p:sp>
      <p:sp>
        <p:nvSpPr>
          <p:cNvPr id="5" name="Footer Placeholder 4">
            <a:extLst>
              <a:ext uri="{FF2B5EF4-FFF2-40B4-BE49-F238E27FC236}">
                <a16:creationId xmlns:a16="http://schemas.microsoft.com/office/drawing/2014/main" id="{34863BA1-AA3F-4BCB-829C-D623339A798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86D2F9B-50D2-43DD-B383-B764EE29BBC5}"/>
              </a:ext>
            </a:extLst>
          </p:cNvPr>
          <p:cNvSpPr>
            <a:spLocks noGrp="1"/>
          </p:cNvSpPr>
          <p:nvPr>
            <p:ph type="sldNum" sz="quarter" idx="12"/>
          </p:nvPr>
        </p:nvSpPr>
        <p:spPr/>
        <p:txBody>
          <a:bodyPr/>
          <a:lstStyle/>
          <a:p>
            <a:fld id="{6EC7C466-5A16-4023-AA09-946F295C46EC}" type="slidenum">
              <a:rPr lang="en-GB" smtClean="0"/>
              <a:t>‹#›</a:t>
            </a:fld>
            <a:endParaRPr lang="en-GB"/>
          </a:p>
        </p:txBody>
      </p:sp>
    </p:spTree>
    <p:extLst>
      <p:ext uri="{BB962C8B-B14F-4D97-AF65-F5344CB8AC3E}">
        <p14:creationId xmlns:p14="http://schemas.microsoft.com/office/powerpoint/2010/main" val="230389483"/>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470671-C400-49BC-BF61-D6623C539A2C}"/>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1D77FCB9-884B-4282-AE2D-C6003BDF938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4AE89FA-1807-49F3-AB46-B5FE55DDA997}"/>
              </a:ext>
            </a:extLst>
          </p:cNvPr>
          <p:cNvSpPr>
            <a:spLocks noGrp="1"/>
          </p:cNvSpPr>
          <p:nvPr>
            <p:ph type="dt" sz="half" idx="10"/>
          </p:nvPr>
        </p:nvSpPr>
        <p:spPr/>
        <p:txBody>
          <a:bodyPr/>
          <a:lstStyle/>
          <a:p>
            <a:fld id="{7D10B8B5-7AC6-4986-980D-C7A802C24E87}" type="datetimeFigureOut">
              <a:rPr lang="en-GB" smtClean="0"/>
              <a:t>06/04/2023</a:t>
            </a:fld>
            <a:endParaRPr lang="en-GB"/>
          </a:p>
        </p:txBody>
      </p:sp>
      <p:sp>
        <p:nvSpPr>
          <p:cNvPr id="5" name="Footer Placeholder 4">
            <a:extLst>
              <a:ext uri="{FF2B5EF4-FFF2-40B4-BE49-F238E27FC236}">
                <a16:creationId xmlns:a16="http://schemas.microsoft.com/office/drawing/2014/main" id="{A0017E76-2466-41F4-AD1C-187D2DD5BEB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351CD13-2A89-4573-80D7-06440487A67B}"/>
              </a:ext>
            </a:extLst>
          </p:cNvPr>
          <p:cNvSpPr>
            <a:spLocks noGrp="1"/>
          </p:cNvSpPr>
          <p:nvPr>
            <p:ph type="sldNum" sz="quarter" idx="12"/>
          </p:nvPr>
        </p:nvSpPr>
        <p:spPr/>
        <p:txBody>
          <a:bodyPr/>
          <a:lstStyle/>
          <a:p>
            <a:fld id="{6EC7C466-5A16-4023-AA09-946F295C46EC}" type="slidenum">
              <a:rPr lang="en-GB" smtClean="0"/>
              <a:t>‹#›</a:t>
            </a:fld>
            <a:endParaRPr lang="en-GB"/>
          </a:p>
        </p:txBody>
      </p:sp>
    </p:spTree>
    <p:extLst>
      <p:ext uri="{BB962C8B-B14F-4D97-AF65-F5344CB8AC3E}">
        <p14:creationId xmlns:p14="http://schemas.microsoft.com/office/powerpoint/2010/main" val="2604740846"/>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40A2682-1F1F-4831-B6FC-1623D6DF3803}"/>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E7C52AB5-EAE5-4812-A6C8-E3692BAE6BD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C50321C-4318-4C12-9880-C7B24F73795A}"/>
              </a:ext>
            </a:extLst>
          </p:cNvPr>
          <p:cNvSpPr>
            <a:spLocks noGrp="1"/>
          </p:cNvSpPr>
          <p:nvPr>
            <p:ph type="dt" sz="half" idx="10"/>
          </p:nvPr>
        </p:nvSpPr>
        <p:spPr/>
        <p:txBody>
          <a:bodyPr/>
          <a:lstStyle/>
          <a:p>
            <a:fld id="{7D10B8B5-7AC6-4986-980D-C7A802C24E87}" type="datetimeFigureOut">
              <a:rPr lang="en-GB" smtClean="0"/>
              <a:t>06/04/2023</a:t>
            </a:fld>
            <a:endParaRPr lang="en-GB"/>
          </a:p>
        </p:txBody>
      </p:sp>
      <p:sp>
        <p:nvSpPr>
          <p:cNvPr id="5" name="Footer Placeholder 4">
            <a:extLst>
              <a:ext uri="{FF2B5EF4-FFF2-40B4-BE49-F238E27FC236}">
                <a16:creationId xmlns:a16="http://schemas.microsoft.com/office/drawing/2014/main" id="{FA66BCEB-029E-49F2-8D5C-FF3C5297360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F6F7E6A-38D3-41A2-9276-3A044BA44DB1}"/>
              </a:ext>
            </a:extLst>
          </p:cNvPr>
          <p:cNvSpPr>
            <a:spLocks noGrp="1"/>
          </p:cNvSpPr>
          <p:nvPr>
            <p:ph type="sldNum" sz="quarter" idx="12"/>
          </p:nvPr>
        </p:nvSpPr>
        <p:spPr/>
        <p:txBody>
          <a:bodyPr/>
          <a:lstStyle/>
          <a:p>
            <a:fld id="{6EC7C466-5A16-4023-AA09-946F295C46EC}" type="slidenum">
              <a:rPr lang="en-GB" smtClean="0"/>
              <a:t>‹#›</a:t>
            </a:fld>
            <a:endParaRPr lang="en-GB"/>
          </a:p>
        </p:txBody>
      </p:sp>
    </p:spTree>
    <p:extLst>
      <p:ext uri="{BB962C8B-B14F-4D97-AF65-F5344CB8AC3E}">
        <p14:creationId xmlns:p14="http://schemas.microsoft.com/office/powerpoint/2010/main" val="3999896857"/>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pic>
        <p:nvPicPr>
          <p:cNvPr id="5" name="Picture 4" descr="logo-a5.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71688" y="279908"/>
            <a:ext cx="1089152" cy="509016"/>
          </a:xfrm>
          <a:prstGeom prst="rect">
            <a:avLst/>
          </a:prstGeom>
        </p:spPr>
      </p:pic>
      <p:sp>
        <p:nvSpPr>
          <p:cNvPr id="9" name="Rectangle 8"/>
          <p:cNvSpPr/>
          <p:nvPr userDrawn="1"/>
        </p:nvSpPr>
        <p:spPr>
          <a:xfrm>
            <a:off x="0" y="0"/>
            <a:ext cx="12192000" cy="6858000"/>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5" name="Content Placeholder 19"/>
          <p:cNvSpPr>
            <a:spLocks noGrp="1"/>
          </p:cNvSpPr>
          <p:nvPr>
            <p:ph sz="quarter" idx="10" hasCustomPrompt="1"/>
          </p:nvPr>
        </p:nvSpPr>
        <p:spPr>
          <a:xfrm>
            <a:off x="609600" y="5025460"/>
            <a:ext cx="9082693" cy="959925"/>
          </a:xfrm>
        </p:spPr>
        <p:txBody>
          <a:bodyPr anchor="b">
            <a:noAutofit/>
          </a:bodyPr>
          <a:lstStyle>
            <a:lvl1pPr marL="0" indent="0">
              <a:buFontTx/>
              <a:buNone/>
              <a:defRPr sz="2800">
                <a:solidFill>
                  <a:schemeClr val="bg1"/>
                </a:solidFill>
              </a:defRPr>
            </a:lvl1pPr>
          </a:lstStyle>
          <a:p>
            <a:pPr lvl="0"/>
            <a:r>
              <a:rPr lang="en-US"/>
              <a:t>Sub heading</a:t>
            </a:r>
          </a:p>
        </p:txBody>
      </p:sp>
      <p:sp>
        <p:nvSpPr>
          <p:cNvPr id="18" name="Title 1"/>
          <p:cNvSpPr>
            <a:spLocks noGrp="1"/>
          </p:cNvSpPr>
          <p:nvPr>
            <p:ph type="title"/>
          </p:nvPr>
        </p:nvSpPr>
        <p:spPr>
          <a:xfrm>
            <a:off x="633101" y="1402939"/>
            <a:ext cx="11048232" cy="3622520"/>
          </a:xfrm>
        </p:spPr>
        <p:txBody>
          <a:bodyPr anchor="t">
            <a:noAutofit/>
          </a:bodyPr>
          <a:lstStyle>
            <a:lvl1pPr>
              <a:defRPr sz="8000">
                <a:solidFill>
                  <a:schemeClr val="bg1"/>
                </a:solidFill>
              </a:defRPr>
            </a:lvl1pPr>
          </a:lstStyle>
          <a:p>
            <a:r>
              <a:rPr lang="en-GB"/>
              <a:t>Click to edit Master title style</a:t>
            </a:r>
            <a:endParaRPr lang="en-US"/>
          </a:p>
        </p:txBody>
      </p:sp>
      <p:sp>
        <p:nvSpPr>
          <p:cNvPr id="19" name="Date Placeholder 3"/>
          <p:cNvSpPr txBox="1">
            <a:spLocks/>
          </p:cNvSpPr>
          <p:nvPr userDrawn="1"/>
        </p:nvSpPr>
        <p:spPr>
          <a:xfrm>
            <a:off x="609600" y="5985385"/>
            <a:ext cx="2844800" cy="365125"/>
          </a:xfrm>
          <a:prstGeom prst="rect">
            <a:avLst/>
          </a:prstGeom>
        </p:spPr>
        <p:txBody>
          <a:bodyPr vert="horz" lIns="91440" tIns="45720" rIns="91440" bIns="45720" rtlCol="0" anchor="ctr"/>
          <a:lstStyle>
            <a:defPPr>
              <a:defRPr lang="en-US"/>
            </a:defPPr>
            <a:lvl1pPr marL="0" algn="l" defTabSz="457200" rtl="0" eaLnBrk="1" latinLnBrk="0" hangingPunct="1">
              <a:defRPr sz="1600" b="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600">
              <a:solidFill>
                <a:schemeClr val="bg1"/>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50770" y="5517238"/>
            <a:ext cx="1630564" cy="956325"/>
          </a:xfrm>
          <a:prstGeom prst="rect">
            <a:avLst/>
          </a:prstGeom>
        </p:spPr>
      </p:pic>
      <p:sp>
        <p:nvSpPr>
          <p:cNvPr id="10" name="Content Placeholder 19"/>
          <p:cNvSpPr>
            <a:spLocks noGrp="1"/>
          </p:cNvSpPr>
          <p:nvPr>
            <p:ph sz="quarter" idx="11" hasCustomPrompt="1"/>
          </p:nvPr>
        </p:nvSpPr>
        <p:spPr>
          <a:xfrm>
            <a:off x="609601" y="5985384"/>
            <a:ext cx="5813287" cy="361031"/>
          </a:xfrm>
        </p:spPr>
        <p:txBody>
          <a:bodyPr anchor="b">
            <a:noAutofit/>
          </a:bodyPr>
          <a:lstStyle>
            <a:lvl1pPr marL="0" indent="0">
              <a:buFontTx/>
              <a:buNone/>
              <a:defRPr sz="1600">
                <a:solidFill>
                  <a:schemeClr val="bg1"/>
                </a:solidFill>
              </a:defRPr>
            </a:lvl1pPr>
          </a:lstStyle>
          <a:p>
            <a:pPr lvl="0"/>
            <a:r>
              <a:rPr lang="en-US"/>
              <a:t>Insert date</a:t>
            </a:r>
          </a:p>
        </p:txBody>
      </p:sp>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24043" y="288437"/>
            <a:ext cx="1480732" cy="878400"/>
          </a:xfrm>
          <a:prstGeom prst="rect">
            <a:avLst/>
          </a:prstGeom>
        </p:spPr>
      </p:pic>
    </p:spTree>
    <p:extLst>
      <p:ext uri="{BB962C8B-B14F-4D97-AF65-F5344CB8AC3E}">
        <p14:creationId xmlns:p14="http://schemas.microsoft.com/office/powerpoint/2010/main" val="8610064"/>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FCB08CE-B749-4A34-8E38-256DAB23FDA3}"/>
              </a:ext>
            </a:extLst>
          </p:cNvPr>
          <p:cNvSpPr txBox="1"/>
          <p:nvPr userDrawn="1"/>
        </p:nvSpPr>
        <p:spPr>
          <a:xfrm>
            <a:off x="291314" y="6372536"/>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781877" y="1037979"/>
            <a:ext cx="10641498"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781878" y="1833143"/>
            <a:ext cx="106414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4" name="Picture 13" descr="A picture containing clipart&#10;&#10;Description generated with very high confidence">
            <a:extLst>
              <a:ext uri="{FF2B5EF4-FFF2-40B4-BE49-F238E27FC236}">
                <a16:creationId xmlns:a16="http://schemas.microsoft.com/office/drawing/2014/main" id="{284323AA-9573-44A2-B321-13F3CEFFCC69}"/>
              </a:ext>
            </a:extLst>
          </p:cNvPr>
          <p:cNvPicPr>
            <a:picLocks noChangeAspect="1"/>
          </p:cNvPicPr>
          <p:nvPr userDrawn="1"/>
        </p:nvPicPr>
        <p:blipFill>
          <a:blip r:embed="rId2"/>
          <a:stretch>
            <a:fillRect/>
          </a:stretch>
        </p:blipFill>
        <p:spPr>
          <a:xfrm>
            <a:off x="10535749" y="365910"/>
            <a:ext cx="1308943" cy="528611"/>
          </a:xfrm>
          <a:prstGeom prst="rect">
            <a:avLst/>
          </a:prstGeom>
        </p:spPr>
      </p:pic>
      <p:sp>
        <p:nvSpPr>
          <p:cNvPr id="15" name="Footer Placeholder 2">
            <a:extLst>
              <a:ext uri="{FF2B5EF4-FFF2-40B4-BE49-F238E27FC236}">
                <a16:creationId xmlns:a16="http://schemas.microsoft.com/office/drawing/2014/main" id="{5AB091A9-979F-438D-A004-40CFB3EAC3A7}"/>
              </a:ext>
            </a:extLst>
          </p:cNvPr>
          <p:cNvSpPr>
            <a:spLocks noGrp="1"/>
          </p:cNvSpPr>
          <p:nvPr>
            <p:ph type="ftr" sz="quarter" idx="3"/>
          </p:nvPr>
        </p:nvSpPr>
        <p:spPr>
          <a:xfrm>
            <a:off x="690676" y="6333439"/>
            <a:ext cx="5723164"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a:t>Presentation title</a:t>
            </a:r>
          </a:p>
        </p:txBody>
      </p:sp>
    </p:spTree>
    <p:extLst>
      <p:ext uri="{BB962C8B-B14F-4D97-AF65-F5344CB8AC3E}">
        <p14:creationId xmlns:p14="http://schemas.microsoft.com/office/powerpoint/2010/main" val="29048497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2 columns 2/3 spli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41468CE-0EA8-40E2-B42B-4DF04A36B922}"/>
              </a:ext>
            </a:extLst>
          </p:cNvPr>
          <p:cNvGraphicFramePr>
            <a:graphicFrameLocks noChangeAspect="1"/>
          </p:cNvGraphicFramePr>
          <p:nvPr userDrawn="1">
            <p:custDataLst>
              <p:tags r:id="rId1"/>
            </p:custDataLst>
            <p:extLst>
              <p:ext uri="{D42A27DB-BD31-4B8C-83A1-F6EECF244321}">
                <p14:modId xmlns:p14="http://schemas.microsoft.com/office/powerpoint/2010/main" val="3226564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Object 7" hidden="1">
                        <a:extLst>
                          <a:ext uri="{FF2B5EF4-FFF2-40B4-BE49-F238E27FC236}">
                            <a16:creationId xmlns:a16="http://schemas.microsoft.com/office/drawing/2014/main" id="{241468CE-0EA8-40E2-B42B-4DF04A36B9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DABCB79-EBF5-4F1A-A34A-97300EDFD0BF}"/>
              </a:ext>
            </a:extLst>
          </p:cNvPr>
          <p:cNvSpPr/>
          <p:nvPr userDrawn="1">
            <p:custDataLst>
              <p:tags r:id="rId2"/>
            </p:custDataLst>
          </p:nvPr>
        </p:nvSpPr>
        <p:spPr>
          <a:xfrm>
            <a:off x="0" y="0"/>
            <a:ext cx="158750" cy="158750"/>
          </a:xfrm>
          <a:prstGeom prst="rect">
            <a:avLst/>
          </a:prstGeom>
          <a:solidFill>
            <a:schemeClr val="bg1"/>
          </a:solid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kern="0" baseline="0">
              <a:solidFill>
                <a:schemeClr val="tx1"/>
              </a:solidFill>
              <a:latin typeface="Arial" panose="020B0604020202020204" pitchFamily="34" charset="0"/>
              <a:ea typeface="+mj-ea"/>
              <a:cs typeface="+mj-cs"/>
              <a:sym typeface="Arial" panose="020B0604020202020204" pitchFamily="34" charset="0"/>
            </a:endParaRPr>
          </a:p>
        </p:txBody>
      </p:sp>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580571" y="1399032"/>
            <a:ext cx="7158446" cy="553998"/>
          </a:xfrm>
        </p:spPr>
        <p:txBody>
          <a:bodyPr/>
          <a:lstStyle>
            <a:lvl1pPr marL="0" indent="0">
              <a:spcBef>
                <a:spcPts val="0"/>
              </a:spcBef>
              <a:buFont typeface="Arial" panose="020B0604020202020204" pitchFamily="34" charset="0"/>
              <a:buChar char="​"/>
              <a:defRPr sz="1800" b="1">
                <a:solidFill>
                  <a:schemeClr val="accent2"/>
                </a:solidFill>
              </a:defRPr>
            </a:lvl1pPr>
            <a:lvl2pPr marL="0" indent="0">
              <a:spcBef>
                <a:spcPts val="0"/>
              </a:spcBef>
              <a:buFont typeface="Arial" panose="020B0604020202020204" pitchFamily="34" charset="0"/>
              <a:buChar char="​"/>
              <a:defRPr sz="1800">
                <a:solidFill>
                  <a:schemeClr val="accent2"/>
                </a:solidFill>
              </a:defRPr>
            </a:lvl2pPr>
            <a:lvl3pPr marL="0" indent="0">
              <a:spcBef>
                <a:spcPts val="0"/>
              </a:spcBef>
              <a:buFont typeface="Arial" panose="020B0604020202020204" pitchFamily="34" charset="0"/>
              <a:buChar char="​"/>
              <a:defRPr sz="1800">
                <a:solidFill>
                  <a:schemeClr val="tx1"/>
                </a:solidFill>
              </a:defRPr>
            </a:lvl3pPr>
            <a:lvl4pPr marL="0" indent="0">
              <a:spcBef>
                <a:spcPts val="0"/>
              </a:spcBef>
              <a:buFont typeface="Arial" panose="020B0604020202020204" pitchFamily="34" charset="0"/>
              <a:buChar char="​"/>
              <a:defRPr sz="1800">
                <a:solidFill>
                  <a:schemeClr val="tx1"/>
                </a:solidFill>
              </a:defRPr>
            </a:lvl4pPr>
            <a:lvl5pPr marL="0" indent="0">
              <a:spcBef>
                <a:spcPts val="0"/>
              </a:spcBef>
              <a:buFont typeface="Arial" panose="020B0604020202020204" pitchFamily="34" charset="0"/>
              <a:buChar char="​"/>
              <a:defRPr sz="1800">
                <a:solidFill>
                  <a:schemeClr val="tx1"/>
                </a:solidFill>
              </a:defRPr>
            </a:lvl5pPr>
            <a:lvl6pPr marL="0" indent="0">
              <a:spcBef>
                <a:spcPts val="0"/>
              </a:spcBef>
              <a:buFont typeface="Arial" panose="020B0604020202020204" pitchFamily="34" charset="0"/>
              <a:buChar char="​"/>
              <a:defRPr sz="1800">
                <a:solidFill>
                  <a:schemeClr val="tx1"/>
                </a:solidFill>
              </a:defRPr>
            </a:lvl6pPr>
            <a:lvl7pPr marL="0" indent="0">
              <a:spcBef>
                <a:spcPts val="0"/>
              </a:spcBef>
              <a:buFont typeface="Arial" panose="020B0604020202020204" pitchFamily="34" charset="0"/>
              <a:buChar char="​"/>
              <a:defRPr sz="1800">
                <a:solidFill>
                  <a:schemeClr val="tx1"/>
                </a:solidFill>
              </a:defRPr>
            </a:lvl7pPr>
            <a:lvl8pPr marL="0" indent="0">
              <a:spcBef>
                <a:spcPts val="0"/>
              </a:spcBef>
              <a:buFont typeface="Arial" panose="020B0604020202020204" pitchFamily="34" charset="0"/>
              <a:buChar char="​"/>
              <a:defRPr sz="1800">
                <a:solidFill>
                  <a:schemeClr val="tx1"/>
                </a:solidFill>
              </a:defRPr>
            </a:lvl8pPr>
            <a:lvl9pPr marL="0" indent="0">
              <a:spcBef>
                <a:spcPts val="0"/>
              </a:spcBef>
              <a:buFont typeface="Arial" panose="020B0604020202020204" pitchFamily="34" charset="0"/>
              <a:buChar char="​"/>
              <a:defRPr sz="1800">
                <a:solidFill>
                  <a:schemeClr val="tx1"/>
                </a:solidFill>
              </a:defRPr>
            </a:lvl9pPr>
          </a:lstStyle>
          <a:p>
            <a:pPr lvl="0"/>
            <a:r>
              <a:t>Heading 18 pt</a:t>
            </a:r>
          </a:p>
          <a:p>
            <a:pPr lvl="1"/>
            <a:r>
              <a:t>Subheading 18 pt</a:t>
            </a:r>
          </a:p>
        </p:txBody>
      </p:sp>
      <p:sp>
        <p:nvSpPr>
          <p:cNvPr id="4" name="Content Left"/>
          <p:cNvSpPr>
            <a:spLocks noGrp="1"/>
          </p:cNvSpPr>
          <p:nvPr>
            <p:ph sz="half" idx="11"/>
          </p:nvPr>
        </p:nvSpPr>
        <p:spPr>
          <a:xfrm>
            <a:off x="580571" y="2057400"/>
            <a:ext cx="7158446" cy="434340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8325394" y="1399032"/>
            <a:ext cx="3286034" cy="553998"/>
          </a:xfrm>
        </p:spPr>
        <p:txBody>
          <a:bodyPr/>
          <a:lstStyle>
            <a:lvl1pPr marL="0" indent="0">
              <a:spcBef>
                <a:spcPts val="0"/>
              </a:spcBef>
              <a:buFont typeface="Arial" panose="020B0604020202020204" pitchFamily="34" charset="0"/>
              <a:buChar char="​"/>
              <a:defRPr sz="1800" b="1">
                <a:solidFill>
                  <a:schemeClr val="accent2"/>
                </a:solidFill>
              </a:defRPr>
            </a:lvl1pPr>
            <a:lvl2pPr marL="0" indent="0">
              <a:spcBef>
                <a:spcPts val="0"/>
              </a:spcBef>
              <a:buFont typeface="Arial" panose="020B0604020202020204" pitchFamily="34" charset="0"/>
              <a:buChar char="​"/>
              <a:defRPr sz="1800">
                <a:solidFill>
                  <a:schemeClr val="accent2"/>
                </a:solidFill>
              </a:defRPr>
            </a:lvl2pPr>
            <a:lvl3pPr marL="0" indent="0">
              <a:spcBef>
                <a:spcPts val="0"/>
              </a:spcBef>
              <a:buFont typeface="Arial" panose="020B0604020202020204" pitchFamily="34" charset="0"/>
              <a:buChar char="​"/>
              <a:defRPr sz="1800">
                <a:solidFill>
                  <a:schemeClr val="tx1"/>
                </a:solidFill>
              </a:defRPr>
            </a:lvl3pPr>
            <a:lvl4pPr marL="0" indent="0">
              <a:spcBef>
                <a:spcPts val="0"/>
              </a:spcBef>
              <a:buFont typeface="Arial" panose="020B0604020202020204" pitchFamily="34" charset="0"/>
              <a:buChar char="​"/>
              <a:defRPr sz="1800">
                <a:solidFill>
                  <a:schemeClr val="tx1"/>
                </a:solidFill>
              </a:defRPr>
            </a:lvl4pPr>
            <a:lvl5pPr marL="0" indent="0">
              <a:spcBef>
                <a:spcPts val="0"/>
              </a:spcBef>
              <a:buFont typeface="Arial" panose="020B0604020202020204" pitchFamily="34" charset="0"/>
              <a:buChar char="​"/>
              <a:defRPr sz="1800">
                <a:solidFill>
                  <a:schemeClr val="tx1"/>
                </a:solidFill>
              </a:defRPr>
            </a:lvl5pPr>
            <a:lvl6pPr marL="0" indent="0">
              <a:spcBef>
                <a:spcPts val="0"/>
              </a:spcBef>
              <a:buFont typeface="Arial" panose="020B0604020202020204" pitchFamily="34" charset="0"/>
              <a:buChar char="​"/>
              <a:defRPr sz="1800">
                <a:solidFill>
                  <a:schemeClr val="tx1"/>
                </a:solidFill>
              </a:defRPr>
            </a:lvl6pPr>
            <a:lvl7pPr marL="0" indent="0">
              <a:spcBef>
                <a:spcPts val="0"/>
              </a:spcBef>
              <a:buFont typeface="Arial" panose="020B0604020202020204" pitchFamily="34" charset="0"/>
              <a:buChar char="​"/>
              <a:defRPr sz="1800">
                <a:solidFill>
                  <a:schemeClr val="tx1"/>
                </a:solidFill>
              </a:defRPr>
            </a:lvl7pPr>
            <a:lvl8pPr marL="0" indent="0">
              <a:spcBef>
                <a:spcPts val="0"/>
              </a:spcBef>
              <a:buFont typeface="Arial" panose="020B0604020202020204" pitchFamily="34" charset="0"/>
              <a:buChar char="​"/>
              <a:defRPr sz="1800">
                <a:solidFill>
                  <a:schemeClr val="tx1"/>
                </a:solidFill>
              </a:defRPr>
            </a:lvl8pPr>
            <a:lvl9pPr marL="0" indent="0">
              <a:spcBef>
                <a:spcPts val="0"/>
              </a:spcBef>
              <a:buFont typeface="Arial" panose="020B0604020202020204" pitchFamily="34" charset="0"/>
              <a:buChar char="​"/>
              <a:defRPr sz="1800">
                <a:solidFill>
                  <a:schemeClr val="tx1"/>
                </a:solidFill>
              </a:defRPr>
            </a:lvl9pPr>
          </a:lstStyle>
          <a:p>
            <a:pPr lvl="0"/>
            <a:r>
              <a:t>Heading 18 pt</a:t>
            </a:r>
          </a:p>
          <a:p>
            <a:pPr lvl="1"/>
            <a:r>
              <a:t>Subheading 18 pt</a:t>
            </a:r>
          </a:p>
        </p:txBody>
      </p:sp>
      <p:sp>
        <p:nvSpPr>
          <p:cNvPr id="6" name="Content Right"/>
          <p:cNvSpPr>
            <a:spLocks noGrp="1"/>
          </p:cNvSpPr>
          <p:nvPr>
            <p:ph sz="quarter" idx="12"/>
          </p:nvPr>
        </p:nvSpPr>
        <p:spPr>
          <a:xfrm>
            <a:off x="8325394" y="2057400"/>
            <a:ext cx="3286034" cy="434340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Slide Number Placeholder 8">
            <a:extLst>
              <a:ext uri="{FF2B5EF4-FFF2-40B4-BE49-F238E27FC236}">
                <a16:creationId xmlns:a16="http://schemas.microsoft.com/office/drawing/2014/main" id="{12D5A911-AB0F-4E9E-BB96-5782600AD7D3}"/>
              </a:ext>
            </a:extLst>
          </p:cNvPr>
          <p:cNvSpPr>
            <a:spLocks noGrp="1"/>
          </p:cNvSpPr>
          <p:nvPr>
            <p:ph type="sldNum" sz="quarter" idx="14"/>
          </p:nvPr>
        </p:nvSpPr>
        <p:spPr/>
        <p:txBody>
          <a:bodyPr/>
          <a:lstStyle/>
          <a:p>
            <a:fld id="{8E01971D-7916-43A0-99EC-C576960CF251}" type="slidenum">
              <a:rPr lang="en-US" smtClean="0"/>
              <a:pPr/>
              <a:t>‹#›</a:t>
            </a:fld>
            <a:endParaRPr lang="en-US"/>
          </a:p>
        </p:txBody>
      </p:sp>
    </p:spTree>
    <p:extLst>
      <p:ext uri="{BB962C8B-B14F-4D97-AF65-F5344CB8AC3E}">
        <p14:creationId xmlns:p14="http://schemas.microsoft.com/office/powerpoint/2010/main" val="2867577678"/>
      </p:ext>
    </p:extLst>
  </p:cSld>
  <p:clrMapOvr>
    <a:masterClrMapping/>
  </p:clrMapOvr>
  <p:extLst>
    <p:ext uri="{DCECCB84-F9BA-43D5-87BE-67443E8EF086}">
      <p15:sldGuideLst xmlns:p15="http://schemas.microsoft.com/office/powerpoint/2012/main">
        <p15:guide id="2" pos="4875">
          <p15:clr>
            <a:srgbClr val="FBAE40"/>
          </p15:clr>
        </p15:guide>
        <p15:guide id="3" pos="5244">
          <p15:clr>
            <a:srgbClr val="FBAE40"/>
          </p15:clr>
        </p15:guide>
        <p15:guide id="4" orient="horz" pos="1296">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20240" y="1649628"/>
            <a:ext cx="10316899" cy="107721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p:cNvSpPr>
            <a:spLocks noGrp="1"/>
          </p:cNvSpPr>
          <p:nvPr>
            <p:ph type="title"/>
          </p:nvPr>
        </p:nvSpPr>
        <p:spPr>
          <a:xfrm>
            <a:off x="614921" y="854464"/>
            <a:ext cx="8756073" cy="553998"/>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8" name="TextBox 7"/>
          <p:cNvSpPr txBox="1"/>
          <p:nvPr userDrawn="1"/>
        </p:nvSpPr>
        <p:spPr>
          <a:xfrm>
            <a:off x="388419" y="6372537"/>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920902" y="6377503"/>
            <a:ext cx="7630885" cy="276999"/>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GB"/>
              <a:t>1 - Initial modelling for 50+ age group is based on NHS111 data and includes an estimate for clinically extremely vulnerable. </a:t>
            </a:r>
            <a:endParaRPr lang="en-US"/>
          </a:p>
        </p:txBody>
      </p:sp>
    </p:spTree>
    <p:extLst>
      <p:ext uri="{BB962C8B-B14F-4D97-AF65-F5344CB8AC3E}">
        <p14:creationId xmlns:p14="http://schemas.microsoft.com/office/powerpoint/2010/main" val="6527534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E26109-1E25-4979-9FAD-4AB9F021DD61}"/>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B7A1B055-18DA-4598-8E31-96893884425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F235383-245E-404C-A74A-2A25EE00C3EE}"/>
              </a:ext>
            </a:extLst>
          </p:cNvPr>
          <p:cNvSpPr>
            <a:spLocks noGrp="1"/>
          </p:cNvSpPr>
          <p:nvPr>
            <p:ph type="dt" sz="half" idx="10"/>
          </p:nvPr>
        </p:nvSpPr>
        <p:spPr/>
        <p:txBody>
          <a:bodyPr/>
          <a:lstStyle/>
          <a:p>
            <a:fld id="{7D10B8B5-7AC6-4986-980D-C7A802C24E87}" type="datetimeFigureOut">
              <a:rPr lang="en-GB" smtClean="0"/>
              <a:t>06/04/2023</a:t>
            </a:fld>
            <a:endParaRPr lang="en-GB"/>
          </a:p>
        </p:txBody>
      </p:sp>
      <p:sp>
        <p:nvSpPr>
          <p:cNvPr id="5" name="Footer Placeholder 4">
            <a:extLst>
              <a:ext uri="{FF2B5EF4-FFF2-40B4-BE49-F238E27FC236}">
                <a16:creationId xmlns:a16="http://schemas.microsoft.com/office/drawing/2014/main" id="{6648CE0D-229B-4D22-B8BD-A9E430386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9F2C1BA-38C6-43E1-9A39-265855BDDDA6}"/>
              </a:ext>
            </a:extLst>
          </p:cNvPr>
          <p:cNvSpPr>
            <a:spLocks noGrp="1"/>
          </p:cNvSpPr>
          <p:nvPr>
            <p:ph type="sldNum" sz="quarter" idx="12"/>
          </p:nvPr>
        </p:nvSpPr>
        <p:spPr/>
        <p:txBody>
          <a:bodyPr/>
          <a:lstStyle/>
          <a:p>
            <a:fld id="{6EC7C466-5A16-4023-AA09-946F295C46EC}" type="slidenum">
              <a:rPr lang="en-GB" smtClean="0"/>
              <a:t>‹#›</a:t>
            </a:fld>
            <a:endParaRPr lang="en-GB"/>
          </a:p>
        </p:txBody>
      </p:sp>
    </p:spTree>
    <p:extLst>
      <p:ext uri="{BB962C8B-B14F-4D97-AF65-F5344CB8AC3E}">
        <p14:creationId xmlns:p14="http://schemas.microsoft.com/office/powerpoint/2010/main" val="419005828"/>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86A997-F9F3-42CB-9519-8183D27DDAC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8EF3304E-B733-46D7-875F-309A040CE6B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2AAA815-C7E6-4BB8-BA3F-B9E31F0526A7}"/>
              </a:ext>
            </a:extLst>
          </p:cNvPr>
          <p:cNvSpPr>
            <a:spLocks noGrp="1"/>
          </p:cNvSpPr>
          <p:nvPr>
            <p:ph type="dt" sz="half" idx="10"/>
          </p:nvPr>
        </p:nvSpPr>
        <p:spPr/>
        <p:txBody>
          <a:bodyPr/>
          <a:lstStyle/>
          <a:p>
            <a:fld id="{7D10B8B5-7AC6-4986-980D-C7A802C24E87}" type="datetimeFigureOut">
              <a:rPr lang="en-GB" smtClean="0"/>
              <a:t>06/04/2023</a:t>
            </a:fld>
            <a:endParaRPr lang="en-GB"/>
          </a:p>
        </p:txBody>
      </p:sp>
      <p:sp>
        <p:nvSpPr>
          <p:cNvPr id="5" name="Footer Placeholder 4">
            <a:extLst>
              <a:ext uri="{FF2B5EF4-FFF2-40B4-BE49-F238E27FC236}">
                <a16:creationId xmlns:a16="http://schemas.microsoft.com/office/drawing/2014/main" id="{7C7A4C3E-9CC0-49AD-A117-8979068545D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E0F5238-7506-4C2D-9F44-B2B7A4953C2C}"/>
              </a:ext>
            </a:extLst>
          </p:cNvPr>
          <p:cNvSpPr>
            <a:spLocks noGrp="1"/>
          </p:cNvSpPr>
          <p:nvPr>
            <p:ph type="sldNum" sz="quarter" idx="12"/>
          </p:nvPr>
        </p:nvSpPr>
        <p:spPr/>
        <p:txBody>
          <a:bodyPr/>
          <a:lstStyle/>
          <a:p>
            <a:fld id="{6EC7C466-5A16-4023-AA09-946F295C46EC}" type="slidenum">
              <a:rPr lang="en-GB" smtClean="0"/>
              <a:t>‹#›</a:t>
            </a:fld>
            <a:endParaRPr lang="en-GB"/>
          </a:p>
        </p:txBody>
      </p:sp>
    </p:spTree>
    <p:extLst>
      <p:ext uri="{BB962C8B-B14F-4D97-AF65-F5344CB8AC3E}">
        <p14:creationId xmlns:p14="http://schemas.microsoft.com/office/powerpoint/2010/main" val="3522445057"/>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103FAE-5E41-40EB-95EE-75FB3402BEC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DF5D818-FEF9-4761-9EEA-357777F83DB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FCD218FF-F453-4029-A0C3-5C543E8B8C2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716506DB-9AF7-4358-9D00-AC3459DB86F0}"/>
              </a:ext>
            </a:extLst>
          </p:cNvPr>
          <p:cNvSpPr>
            <a:spLocks noGrp="1"/>
          </p:cNvSpPr>
          <p:nvPr>
            <p:ph type="dt" sz="half" idx="10"/>
          </p:nvPr>
        </p:nvSpPr>
        <p:spPr/>
        <p:txBody>
          <a:bodyPr/>
          <a:lstStyle/>
          <a:p>
            <a:fld id="{7D10B8B5-7AC6-4986-980D-C7A802C24E87}" type="datetimeFigureOut">
              <a:rPr lang="en-GB" smtClean="0"/>
              <a:t>06/04/2023</a:t>
            </a:fld>
            <a:endParaRPr lang="en-GB"/>
          </a:p>
        </p:txBody>
      </p:sp>
      <p:sp>
        <p:nvSpPr>
          <p:cNvPr id="6" name="Footer Placeholder 5">
            <a:extLst>
              <a:ext uri="{FF2B5EF4-FFF2-40B4-BE49-F238E27FC236}">
                <a16:creationId xmlns:a16="http://schemas.microsoft.com/office/drawing/2014/main" id="{512A5ABC-1172-4B61-A113-B4154FE0EB3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91141333-263E-4684-816F-DE40922E2022}"/>
              </a:ext>
            </a:extLst>
          </p:cNvPr>
          <p:cNvSpPr>
            <a:spLocks noGrp="1"/>
          </p:cNvSpPr>
          <p:nvPr>
            <p:ph type="sldNum" sz="quarter" idx="12"/>
          </p:nvPr>
        </p:nvSpPr>
        <p:spPr/>
        <p:txBody>
          <a:bodyPr/>
          <a:lstStyle/>
          <a:p>
            <a:fld id="{6EC7C466-5A16-4023-AA09-946F295C46EC}" type="slidenum">
              <a:rPr lang="en-GB" smtClean="0"/>
              <a:t>‹#›</a:t>
            </a:fld>
            <a:endParaRPr lang="en-GB"/>
          </a:p>
        </p:txBody>
      </p:sp>
    </p:spTree>
    <p:extLst>
      <p:ext uri="{BB962C8B-B14F-4D97-AF65-F5344CB8AC3E}">
        <p14:creationId xmlns:p14="http://schemas.microsoft.com/office/powerpoint/2010/main" val="1052871659"/>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B994D7-B118-44F5-A115-3EA28FBDDBEA}"/>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1E0D03CC-3B7A-4B44-9B2A-20C9A436996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9B61F1A-E955-41AB-90AC-43977AF876D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BC345A0C-F1F6-43C9-93AD-0DF84B77007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56655DA-EECA-4EBC-922D-63C1B26367A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566E34C5-2863-4374-87D0-17AA8AA6DCEE}"/>
              </a:ext>
            </a:extLst>
          </p:cNvPr>
          <p:cNvSpPr>
            <a:spLocks noGrp="1"/>
          </p:cNvSpPr>
          <p:nvPr>
            <p:ph type="dt" sz="half" idx="10"/>
          </p:nvPr>
        </p:nvSpPr>
        <p:spPr/>
        <p:txBody>
          <a:bodyPr/>
          <a:lstStyle/>
          <a:p>
            <a:fld id="{7D10B8B5-7AC6-4986-980D-C7A802C24E87}" type="datetimeFigureOut">
              <a:rPr lang="en-GB" smtClean="0"/>
              <a:t>06/04/2023</a:t>
            </a:fld>
            <a:endParaRPr lang="en-GB"/>
          </a:p>
        </p:txBody>
      </p:sp>
      <p:sp>
        <p:nvSpPr>
          <p:cNvPr id="8" name="Footer Placeholder 7">
            <a:extLst>
              <a:ext uri="{FF2B5EF4-FFF2-40B4-BE49-F238E27FC236}">
                <a16:creationId xmlns:a16="http://schemas.microsoft.com/office/drawing/2014/main" id="{44D73068-650D-4E3E-85B0-CAA51097E7C0}"/>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11D444A8-6B7B-4EF3-998C-7F147B76FCE6}"/>
              </a:ext>
            </a:extLst>
          </p:cNvPr>
          <p:cNvSpPr>
            <a:spLocks noGrp="1"/>
          </p:cNvSpPr>
          <p:nvPr>
            <p:ph type="sldNum" sz="quarter" idx="12"/>
          </p:nvPr>
        </p:nvSpPr>
        <p:spPr/>
        <p:txBody>
          <a:bodyPr/>
          <a:lstStyle/>
          <a:p>
            <a:fld id="{6EC7C466-5A16-4023-AA09-946F295C46EC}" type="slidenum">
              <a:rPr lang="en-GB" smtClean="0"/>
              <a:t>‹#›</a:t>
            </a:fld>
            <a:endParaRPr lang="en-GB"/>
          </a:p>
        </p:txBody>
      </p:sp>
    </p:spTree>
    <p:extLst>
      <p:ext uri="{BB962C8B-B14F-4D97-AF65-F5344CB8AC3E}">
        <p14:creationId xmlns:p14="http://schemas.microsoft.com/office/powerpoint/2010/main" val="3483259775"/>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7BC0D3-C019-46FA-BD74-7AC2C5766F2A}"/>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5AEF39AE-BA1C-49C2-8ED2-E8C79E572C9E}"/>
              </a:ext>
            </a:extLst>
          </p:cNvPr>
          <p:cNvSpPr>
            <a:spLocks noGrp="1"/>
          </p:cNvSpPr>
          <p:nvPr>
            <p:ph type="dt" sz="half" idx="10"/>
          </p:nvPr>
        </p:nvSpPr>
        <p:spPr/>
        <p:txBody>
          <a:bodyPr/>
          <a:lstStyle/>
          <a:p>
            <a:fld id="{7D10B8B5-7AC6-4986-980D-C7A802C24E87}" type="datetimeFigureOut">
              <a:rPr lang="en-GB" smtClean="0"/>
              <a:t>06/04/2023</a:t>
            </a:fld>
            <a:endParaRPr lang="en-GB"/>
          </a:p>
        </p:txBody>
      </p:sp>
      <p:sp>
        <p:nvSpPr>
          <p:cNvPr id="4" name="Footer Placeholder 3">
            <a:extLst>
              <a:ext uri="{FF2B5EF4-FFF2-40B4-BE49-F238E27FC236}">
                <a16:creationId xmlns:a16="http://schemas.microsoft.com/office/drawing/2014/main" id="{45E07C3B-8183-4553-8D6E-5B4E92F90286}"/>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B48EBBEC-FF0A-4437-8EAA-F3C48E829F6F}"/>
              </a:ext>
            </a:extLst>
          </p:cNvPr>
          <p:cNvSpPr>
            <a:spLocks noGrp="1"/>
          </p:cNvSpPr>
          <p:nvPr>
            <p:ph type="sldNum" sz="quarter" idx="12"/>
          </p:nvPr>
        </p:nvSpPr>
        <p:spPr/>
        <p:txBody>
          <a:bodyPr/>
          <a:lstStyle/>
          <a:p>
            <a:fld id="{6EC7C466-5A16-4023-AA09-946F295C46EC}" type="slidenum">
              <a:rPr lang="en-GB" smtClean="0"/>
              <a:t>‹#›</a:t>
            </a:fld>
            <a:endParaRPr lang="en-GB"/>
          </a:p>
        </p:txBody>
      </p:sp>
    </p:spTree>
    <p:extLst>
      <p:ext uri="{BB962C8B-B14F-4D97-AF65-F5344CB8AC3E}">
        <p14:creationId xmlns:p14="http://schemas.microsoft.com/office/powerpoint/2010/main" val="3166070210"/>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3BFDD58-2EE8-4ABB-9BEA-48E64F7E745D}"/>
              </a:ext>
            </a:extLst>
          </p:cNvPr>
          <p:cNvSpPr>
            <a:spLocks noGrp="1"/>
          </p:cNvSpPr>
          <p:nvPr>
            <p:ph type="dt" sz="half" idx="10"/>
          </p:nvPr>
        </p:nvSpPr>
        <p:spPr/>
        <p:txBody>
          <a:bodyPr/>
          <a:lstStyle/>
          <a:p>
            <a:fld id="{7D10B8B5-7AC6-4986-980D-C7A802C24E87}" type="datetimeFigureOut">
              <a:rPr lang="en-GB" smtClean="0"/>
              <a:t>06/04/2023</a:t>
            </a:fld>
            <a:endParaRPr lang="en-GB"/>
          </a:p>
        </p:txBody>
      </p:sp>
      <p:sp>
        <p:nvSpPr>
          <p:cNvPr id="3" name="Footer Placeholder 2">
            <a:extLst>
              <a:ext uri="{FF2B5EF4-FFF2-40B4-BE49-F238E27FC236}">
                <a16:creationId xmlns:a16="http://schemas.microsoft.com/office/drawing/2014/main" id="{95D898D3-1C2B-4190-9090-44335B774E50}"/>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88177C3A-14AA-4461-82D5-1F0AB971E8E9}"/>
              </a:ext>
            </a:extLst>
          </p:cNvPr>
          <p:cNvSpPr>
            <a:spLocks noGrp="1"/>
          </p:cNvSpPr>
          <p:nvPr>
            <p:ph type="sldNum" sz="quarter" idx="12"/>
          </p:nvPr>
        </p:nvSpPr>
        <p:spPr/>
        <p:txBody>
          <a:bodyPr/>
          <a:lstStyle/>
          <a:p>
            <a:fld id="{6EC7C466-5A16-4023-AA09-946F295C46EC}" type="slidenum">
              <a:rPr lang="en-GB" smtClean="0"/>
              <a:t>‹#›</a:t>
            </a:fld>
            <a:endParaRPr lang="en-GB"/>
          </a:p>
        </p:txBody>
      </p:sp>
    </p:spTree>
    <p:extLst>
      <p:ext uri="{BB962C8B-B14F-4D97-AF65-F5344CB8AC3E}">
        <p14:creationId xmlns:p14="http://schemas.microsoft.com/office/powerpoint/2010/main" val="2560893290"/>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2CFBB9-6EE4-4034-AF02-F73C3CC638B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1BA41BB8-FA3C-430F-9088-6ADB119D890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B96C053F-EC6A-4F41-8504-5C8F5D592B7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55B6776-1FCF-4737-9469-5B38528D9672}"/>
              </a:ext>
            </a:extLst>
          </p:cNvPr>
          <p:cNvSpPr>
            <a:spLocks noGrp="1"/>
          </p:cNvSpPr>
          <p:nvPr>
            <p:ph type="dt" sz="half" idx="10"/>
          </p:nvPr>
        </p:nvSpPr>
        <p:spPr/>
        <p:txBody>
          <a:bodyPr/>
          <a:lstStyle/>
          <a:p>
            <a:fld id="{7D10B8B5-7AC6-4986-980D-C7A802C24E87}" type="datetimeFigureOut">
              <a:rPr lang="en-GB" smtClean="0"/>
              <a:t>06/04/2023</a:t>
            </a:fld>
            <a:endParaRPr lang="en-GB"/>
          </a:p>
        </p:txBody>
      </p:sp>
      <p:sp>
        <p:nvSpPr>
          <p:cNvPr id="6" name="Footer Placeholder 5">
            <a:extLst>
              <a:ext uri="{FF2B5EF4-FFF2-40B4-BE49-F238E27FC236}">
                <a16:creationId xmlns:a16="http://schemas.microsoft.com/office/drawing/2014/main" id="{B8306DCB-E23D-47FC-80C6-F15BA950967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49F993E-62D0-49C2-9391-3C259B5FF9B2}"/>
              </a:ext>
            </a:extLst>
          </p:cNvPr>
          <p:cNvSpPr>
            <a:spLocks noGrp="1"/>
          </p:cNvSpPr>
          <p:nvPr>
            <p:ph type="sldNum" sz="quarter" idx="12"/>
          </p:nvPr>
        </p:nvSpPr>
        <p:spPr/>
        <p:txBody>
          <a:bodyPr/>
          <a:lstStyle/>
          <a:p>
            <a:fld id="{6EC7C466-5A16-4023-AA09-946F295C46EC}" type="slidenum">
              <a:rPr lang="en-GB" smtClean="0"/>
              <a:t>‹#›</a:t>
            </a:fld>
            <a:endParaRPr lang="en-GB"/>
          </a:p>
        </p:txBody>
      </p:sp>
    </p:spTree>
    <p:extLst>
      <p:ext uri="{BB962C8B-B14F-4D97-AF65-F5344CB8AC3E}">
        <p14:creationId xmlns:p14="http://schemas.microsoft.com/office/powerpoint/2010/main" val="2108304799"/>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AED59D-A5DD-4DC8-92AA-11FFCEA4F5B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EE7F798D-7F12-49A4-AB44-42C8FA06A95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D425A3B0-9111-43AC-BF55-7DDDB037CB3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AB17BA1-CA8C-4FE1-9918-8F6EDBF479E3}"/>
              </a:ext>
            </a:extLst>
          </p:cNvPr>
          <p:cNvSpPr>
            <a:spLocks noGrp="1"/>
          </p:cNvSpPr>
          <p:nvPr>
            <p:ph type="dt" sz="half" idx="10"/>
          </p:nvPr>
        </p:nvSpPr>
        <p:spPr/>
        <p:txBody>
          <a:bodyPr/>
          <a:lstStyle/>
          <a:p>
            <a:fld id="{7D10B8B5-7AC6-4986-980D-C7A802C24E87}" type="datetimeFigureOut">
              <a:rPr lang="en-GB" smtClean="0"/>
              <a:t>06/04/2023</a:t>
            </a:fld>
            <a:endParaRPr lang="en-GB"/>
          </a:p>
        </p:txBody>
      </p:sp>
      <p:sp>
        <p:nvSpPr>
          <p:cNvPr id="6" name="Footer Placeholder 5">
            <a:extLst>
              <a:ext uri="{FF2B5EF4-FFF2-40B4-BE49-F238E27FC236}">
                <a16:creationId xmlns:a16="http://schemas.microsoft.com/office/drawing/2014/main" id="{4D35D2D5-97D2-41D9-9775-6964A1110F7F}"/>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8BD84457-A001-4E61-B03A-F494E4A9D7C2}"/>
              </a:ext>
            </a:extLst>
          </p:cNvPr>
          <p:cNvSpPr>
            <a:spLocks noGrp="1"/>
          </p:cNvSpPr>
          <p:nvPr>
            <p:ph type="sldNum" sz="quarter" idx="12"/>
          </p:nvPr>
        </p:nvSpPr>
        <p:spPr/>
        <p:txBody>
          <a:bodyPr/>
          <a:lstStyle/>
          <a:p>
            <a:fld id="{6EC7C466-5A16-4023-AA09-946F295C46EC}" type="slidenum">
              <a:rPr lang="en-GB" smtClean="0"/>
              <a:t>‹#›</a:t>
            </a:fld>
            <a:endParaRPr lang="en-GB"/>
          </a:p>
        </p:txBody>
      </p:sp>
    </p:spTree>
    <p:extLst>
      <p:ext uri="{BB962C8B-B14F-4D97-AF65-F5344CB8AC3E}">
        <p14:creationId xmlns:p14="http://schemas.microsoft.com/office/powerpoint/2010/main" val="3654213988"/>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2B3090D-3482-49EF-BFEA-71DA6B88DCD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DCA9FBB8-496F-4BCC-8F6B-6DDCC4B7DE8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a:extLst>
              <a:ext uri="{FF2B5EF4-FFF2-40B4-BE49-F238E27FC236}">
                <a16:creationId xmlns:a16="http://schemas.microsoft.com/office/drawing/2014/main" id="{E681F4E8-E2CC-49C4-B555-132868B3C30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D10B8B5-7AC6-4986-980D-C7A802C24E87}" type="datetimeFigureOut">
              <a:rPr lang="en-GB" smtClean="0"/>
              <a:t>06/04/2023</a:t>
            </a:fld>
            <a:endParaRPr lang="en-GB"/>
          </a:p>
        </p:txBody>
      </p:sp>
      <p:sp>
        <p:nvSpPr>
          <p:cNvPr id="5" name="Footer Placeholder 4">
            <a:extLst>
              <a:ext uri="{FF2B5EF4-FFF2-40B4-BE49-F238E27FC236}">
                <a16:creationId xmlns:a16="http://schemas.microsoft.com/office/drawing/2014/main" id="{9F1FAF63-3EBB-48F4-BA22-0B9510E4D6D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FCD6763D-860C-42E4-9170-D082EA99306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EC7C466-5A16-4023-AA09-946F295C46EC}" type="slidenum">
              <a:rPr lang="en-GB" smtClean="0"/>
              <a:t>‹#›</a:t>
            </a:fld>
            <a:endParaRPr lang="en-GB"/>
          </a:p>
        </p:txBody>
      </p:sp>
    </p:spTree>
    <p:extLst>
      <p:ext uri="{BB962C8B-B14F-4D97-AF65-F5344CB8AC3E}">
        <p14:creationId xmlns:p14="http://schemas.microsoft.com/office/powerpoint/2010/main" val="41115303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hf hdr="0" ftr="0" dt="0"/>
  <p:txStyles>
    <p:titleStyle>
      <a:lvl1pPr algn="l" defTabSz="914400" rtl="0" eaLnBrk="1" latinLnBrk="0" hangingPunct="1">
        <a:lnSpc>
          <a:spcPct val="90000"/>
        </a:lnSpc>
        <a:spcBef>
          <a:spcPct val="0"/>
        </a:spcBef>
        <a:buNone/>
        <a:defRPr sz="4400" kern="1200">
          <a:solidFill>
            <a:schemeClr val="accent3">
              <a:lumMod val="75000"/>
            </a:schemeClr>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accent2">
              <a:lumMod val="7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2">
              <a:lumMod val="7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2">
              <a:lumMod val="7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2">
              <a:lumMod val="7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2">
              <a:lumMod val="7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2.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2.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2.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2.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Transformation Partners in Health and Care logo">
            <a:extLst>
              <a:ext uri="{FF2B5EF4-FFF2-40B4-BE49-F238E27FC236}">
                <a16:creationId xmlns:a16="http://schemas.microsoft.com/office/drawing/2014/main" id="{50266859-E58D-B728-792C-AA45F55084F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2059" y="-92993"/>
            <a:ext cx="2326429" cy="2231473"/>
          </a:xfrm>
          <a:prstGeom prst="rect">
            <a:avLst/>
          </a:prstGeom>
        </p:spPr>
      </p:pic>
      <p:sp>
        <p:nvSpPr>
          <p:cNvPr id="2" name="Title 1">
            <a:extLst>
              <a:ext uri="{FF2B5EF4-FFF2-40B4-BE49-F238E27FC236}">
                <a16:creationId xmlns:a16="http://schemas.microsoft.com/office/drawing/2014/main" id="{F4725097-7F60-4424-9376-70CAA325BE45}"/>
              </a:ext>
            </a:extLst>
          </p:cNvPr>
          <p:cNvSpPr>
            <a:spLocks noGrp="1"/>
          </p:cNvSpPr>
          <p:nvPr>
            <p:ph type="title"/>
          </p:nvPr>
        </p:nvSpPr>
        <p:spPr>
          <a:xfrm>
            <a:off x="1081234" y="2231473"/>
            <a:ext cx="10641498" cy="1295942"/>
          </a:xfrm>
        </p:spPr>
        <p:txBody>
          <a:bodyPr>
            <a:normAutofit fontScale="90000"/>
          </a:bodyPr>
          <a:lstStyle/>
          <a:p>
            <a:pPr>
              <a:spcBef>
                <a:spcPts val="1000"/>
              </a:spcBef>
            </a:pPr>
            <a:r>
              <a:rPr lang="en-GB" sz="4000" dirty="0">
                <a:latin typeface="Arial"/>
                <a:cs typeface="Arial"/>
              </a:rPr>
              <a:t>Personalised Care Interventions</a:t>
            </a:r>
            <a:br>
              <a:rPr lang="en-GB" sz="4000" dirty="0">
                <a:latin typeface="Arial"/>
                <a:cs typeface="Arial"/>
              </a:rPr>
            </a:br>
            <a:r>
              <a:rPr lang="en-GB" sz="4000" dirty="0">
                <a:latin typeface="Arial"/>
                <a:cs typeface="Arial"/>
              </a:rPr>
              <a:t>Rapid Evidence Assessment</a:t>
            </a:r>
            <a:br>
              <a:rPr lang="en-GB" sz="4000" dirty="0">
                <a:latin typeface="Arial"/>
                <a:cs typeface="Arial"/>
              </a:rPr>
            </a:br>
            <a:r>
              <a:rPr lang="en-GB" sz="4000" dirty="0">
                <a:latin typeface="Arial"/>
                <a:cs typeface="Arial"/>
              </a:rPr>
              <a:t>Executive Summary</a:t>
            </a:r>
            <a:endParaRPr lang="en-US" sz="4000" dirty="0">
              <a:latin typeface="Arial"/>
              <a:cs typeface="Arial"/>
            </a:endParaRPr>
          </a:p>
          <a:p>
            <a:pPr>
              <a:spcBef>
                <a:spcPts val="1000"/>
              </a:spcBef>
            </a:pPr>
            <a:endParaRPr lang="en-GB" dirty="0"/>
          </a:p>
        </p:txBody>
      </p:sp>
      <p:sp>
        <p:nvSpPr>
          <p:cNvPr id="5" name="TextBox 4">
            <a:extLst>
              <a:ext uri="{FF2B5EF4-FFF2-40B4-BE49-F238E27FC236}">
                <a16:creationId xmlns:a16="http://schemas.microsoft.com/office/drawing/2014/main" id="{9E6CAC2B-256F-487B-BFD4-E929D9E8093D}"/>
              </a:ext>
            </a:extLst>
          </p:cNvPr>
          <p:cNvSpPr txBox="1"/>
          <p:nvPr/>
        </p:nvSpPr>
        <p:spPr>
          <a:xfrm>
            <a:off x="1208234" y="3903133"/>
            <a:ext cx="8222341" cy="175124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457200">
              <a:lnSpc>
                <a:spcPct val="90000"/>
              </a:lnSpc>
              <a:spcBef>
                <a:spcPts val="1000"/>
              </a:spcBef>
              <a:defRPr/>
            </a:pPr>
            <a:r>
              <a:rPr kumimoji="0" lang="en-GB" sz="1800" b="0" i="0" u="none" strike="noStrike" kern="1200" cap="none" spc="0" normalizeH="0" baseline="0" noProof="0" dirty="0">
                <a:ln>
                  <a:noFill/>
                </a:ln>
                <a:solidFill>
                  <a:srgbClr val="005EB8"/>
                </a:solidFill>
                <a:effectLst/>
                <a:uLnTx/>
                <a:uFillTx/>
                <a:latin typeface="Arial"/>
                <a:ea typeface="+mn-ea"/>
                <a:cs typeface="Arial"/>
              </a:rPr>
              <a:t>March 2023</a:t>
            </a:r>
            <a:endParaRPr lang="en-US" sz="1800" b="0" i="0" u="none" strike="noStrike" kern="1200" cap="none" spc="0" normalizeH="0" baseline="0" noProof="0" dirty="0">
              <a:ln>
                <a:noFill/>
              </a:ln>
              <a:solidFill>
                <a:srgbClr val="005EB8"/>
              </a:solidFill>
              <a:effectLst/>
              <a:uLnTx/>
              <a:uFillTx/>
              <a:latin typeface="Arial"/>
              <a:cs typeface="Arial"/>
            </a:endParaRPr>
          </a:p>
          <a:p>
            <a:pPr defTabSz="457200">
              <a:lnSpc>
                <a:spcPct val="90000"/>
              </a:lnSpc>
              <a:spcBef>
                <a:spcPts val="1000"/>
              </a:spcBef>
              <a:defRPr/>
            </a:pPr>
            <a:r>
              <a:rPr kumimoji="0" lang="en-GB" sz="1800" b="0" i="0" u="none" strike="noStrike" kern="1200" cap="none" spc="0" normalizeH="0" baseline="0" noProof="0" dirty="0">
                <a:ln>
                  <a:noFill/>
                </a:ln>
                <a:solidFill>
                  <a:srgbClr val="005EB8"/>
                </a:solidFill>
                <a:effectLst/>
                <a:uLnTx/>
                <a:uFillTx/>
                <a:latin typeface="Arial"/>
                <a:ea typeface="+mn-ea"/>
                <a:cs typeface="Arial"/>
              </a:rPr>
              <a:t>Rhys Ellis &amp; Alex Mears</a:t>
            </a:r>
          </a:p>
          <a:p>
            <a:pPr defTabSz="457200">
              <a:lnSpc>
                <a:spcPct val="90000"/>
              </a:lnSpc>
              <a:spcBef>
                <a:spcPts val="1000"/>
              </a:spcBef>
              <a:defRPr/>
            </a:pPr>
            <a:r>
              <a:rPr lang="en-GB" dirty="0">
                <a:solidFill>
                  <a:srgbClr val="005EB8"/>
                </a:solidFill>
                <a:latin typeface="Arial"/>
                <a:cs typeface="Arial"/>
              </a:rPr>
              <a:t>Transformation Partners in Health &amp; Care</a:t>
            </a:r>
          </a:p>
          <a:p>
            <a:pPr defTabSz="457200">
              <a:lnSpc>
                <a:spcPct val="90000"/>
              </a:lnSpc>
              <a:spcBef>
                <a:spcPts val="1000"/>
              </a:spcBef>
              <a:defRPr/>
            </a:pPr>
            <a:r>
              <a:rPr kumimoji="0" lang="en-GB" sz="1800" b="0" i="0" u="none" strike="noStrike" kern="1200" cap="none" spc="0" normalizeH="0" baseline="0" noProof="0" dirty="0">
                <a:ln>
                  <a:noFill/>
                </a:ln>
                <a:solidFill>
                  <a:srgbClr val="005EB8"/>
                </a:solidFill>
                <a:effectLst/>
                <a:uLnTx/>
                <a:uFillTx/>
                <a:latin typeface="Arial"/>
                <a:ea typeface="+mn-ea"/>
                <a:cs typeface="Arial"/>
              </a:rPr>
              <a:t>Royal Free London NHS Foundation Trust</a:t>
            </a:r>
            <a:endParaRPr kumimoji="0" lang="en-US" sz="1800" b="0" i="0" u="none" strike="noStrike" kern="1200" cap="none" spc="0" normalizeH="0" baseline="0" noProof="0" dirty="0">
              <a:ln>
                <a:noFill/>
              </a:ln>
              <a:solidFill>
                <a:srgbClr val="005EB8"/>
              </a:solidFill>
              <a:effectLst/>
              <a:uLnTx/>
              <a:uFillTx/>
              <a:latin typeface="Arial"/>
              <a:ea typeface="+mn-ea"/>
              <a:cs typeface="Arial"/>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Calibri"/>
            </a:endParaRPr>
          </a:p>
        </p:txBody>
      </p:sp>
    </p:spTree>
    <p:extLst>
      <p:ext uri="{BB962C8B-B14F-4D97-AF65-F5344CB8AC3E}">
        <p14:creationId xmlns:p14="http://schemas.microsoft.com/office/powerpoint/2010/main" val="18683567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5F5DE2-54B6-4C7B-84AA-D5BBFB1923B3}"/>
              </a:ext>
            </a:extLst>
          </p:cNvPr>
          <p:cNvSpPr>
            <a:spLocks noGrp="1"/>
          </p:cNvSpPr>
          <p:nvPr>
            <p:ph type="title"/>
          </p:nvPr>
        </p:nvSpPr>
        <p:spPr/>
        <p:txBody>
          <a:bodyPr/>
          <a:lstStyle/>
          <a:p>
            <a:r>
              <a:rPr lang="en-GB" dirty="0"/>
              <a:t>Synthesis: COPD</a:t>
            </a:r>
          </a:p>
        </p:txBody>
      </p:sp>
      <p:graphicFrame>
        <p:nvGraphicFramePr>
          <p:cNvPr id="5" name="Content Placeholder 4" descr="SmartArt with text:&#10;•health coaching&#10;reduction in hospital admissions (OR 0.46, p&lt;0.0001)&#10;•blended SSM (electronic &amp; f2f)&#10;less frequent exacerbation (RR 0.38)&#10;reduction in BMI (mean difference 0.81)&#10;improved QoL (SMD = 0.81)&#10;•nutritional support&#10;increases in protein intake (p&lt;0.001)&#10;•other SSM including education&#10;smoking cessation, exercise, exacerbation action plan etc&#10;2.86 lower score on St. George’s Respiratory Questionnaire&#10;lower risk of A&amp;E attendance (HR (Hazard Ratio) -0.52&#10;mean difference of 45.14m in walking test&#10;improved QoL scores">
            <a:extLst>
              <a:ext uri="{FF2B5EF4-FFF2-40B4-BE49-F238E27FC236}">
                <a16:creationId xmlns:a16="http://schemas.microsoft.com/office/drawing/2014/main" id="{032AE52D-17E9-453E-8202-083427ADE143}"/>
              </a:ext>
            </a:extLst>
          </p:cNvPr>
          <p:cNvGraphicFramePr>
            <a:graphicFrameLocks noGrp="1"/>
          </p:cNvGraphicFramePr>
          <p:nvPr>
            <p:ph idx="1"/>
            <p:extLst>
              <p:ext uri="{D42A27DB-BD31-4B8C-83A1-F6EECF244321}">
                <p14:modId xmlns:p14="http://schemas.microsoft.com/office/powerpoint/2010/main" val="3454847117"/>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a:extLst>
              <a:ext uri="{FF2B5EF4-FFF2-40B4-BE49-F238E27FC236}">
                <a16:creationId xmlns:a16="http://schemas.microsoft.com/office/drawing/2014/main" id="{16EEE3FB-1DC1-4790-B1B4-8C264F8A3619}"/>
              </a:ext>
            </a:extLst>
          </p:cNvPr>
          <p:cNvSpPr>
            <a:spLocks noGrp="1"/>
          </p:cNvSpPr>
          <p:nvPr>
            <p:ph type="sldNum" sz="quarter" idx="12"/>
          </p:nvPr>
        </p:nvSpPr>
        <p:spPr/>
        <p:txBody>
          <a:bodyPr/>
          <a:lstStyle/>
          <a:p>
            <a:fld id="{6EC7C466-5A16-4023-AA09-946F295C46EC}" type="slidenum">
              <a:rPr lang="en-GB" smtClean="0"/>
              <a:t>10</a:t>
            </a:fld>
            <a:endParaRPr lang="en-GB"/>
          </a:p>
        </p:txBody>
      </p:sp>
    </p:spTree>
    <p:extLst>
      <p:ext uri="{BB962C8B-B14F-4D97-AF65-F5344CB8AC3E}">
        <p14:creationId xmlns:p14="http://schemas.microsoft.com/office/powerpoint/2010/main" val="38597489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2971C2-BAEF-4CB1-9DE8-36E85D9048CA}"/>
              </a:ext>
            </a:extLst>
          </p:cNvPr>
          <p:cNvSpPr>
            <a:spLocks noGrp="1"/>
          </p:cNvSpPr>
          <p:nvPr>
            <p:ph type="title"/>
          </p:nvPr>
        </p:nvSpPr>
        <p:spPr/>
        <p:txBody>
          <a:bodyPr>
            <a:normAutofit/>
          </a:bodyPr>
          <a:lstStyle/>
          <a:p>
            <a:r>
              <a:rPr lang="en-GB" dirty="0"/>
              <a:t>Discussion: Findings v areas from the original brief:</a:t>
            </a:r>
          </a:p>
        </p:txBody>
      </p:sp>
      <p:graphicFrame>
        <p:nvGraphicFramePr>
          <p:cNvPr id="5" name="Content Placeholder 4" descr="SmartArt with text:&#10;A strong evidence base&#13;&#10;- varies by condition area&#13;&#10;- system pressures: supported for COPD, less for diabetes, not for MSK&#13;&#10;- strong clinical outcomes for diabetes&#13;&#10;- support for healthcare impact for all conditions via indirect routes&#13;&#10;A key role in improving healthcare&#13;&#10;- many positive outcomes for all conditions&#13;&#10;- improvement via understanding, support, empowerment, feeling in control&#13;&#10;Aligned to a high priority area for the NHS&#13;&#10;- not really aligned with policy priorities&#13;&#10;- argument for deep dive and further research&#13;&#10;High impact to current priorities&#13;&#10;- SSM can reduce hospital admissions for COPD and diabetes&#13;&#10;">
            <a:extLst>
              <a:ext uri="{FF2B5EF4-FFF2-40B4-BE49-F238E27FC236}">
                <a16:creationId xmlns:a16="http://schemas.microsoft.com/office/drawing/2014/main" id="{43420894-C6AE-4216-857B-8FB1BA17CC4B}"/>
              </a:ext>
            </a:extLst>
          </p:cNvPr>
          <p:cNvGraphicFramePr>
            <a:graphicFrameLocks noGrp="1"/>
          </p:cNvGraphicFramePr>
          <p:nvPr>
            <p:ph idx="1"/>
            <p:extLst>
              <p:ext uri="{D42A27DB-BD31-4B8C-83A1-F6EECF244321}">
                <p14:modId xmlns:p14="http://schemas.microsoft.com/office/powerpoint/2010/main" val="3481941222"/>
              </p:ext>
            </p:extLst>
          </p:nvPr>
        </p:nvGraphicFramePr>
        <p:xfrm>
          <a:off x="838200" y="1825625"/>
          <a:ext cx="10202333"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a:extLst>
              <a:ext uri="{FF2B5EF4-FFF2-40B4-BE49-F238E27FC236}">
                <a16:creationId xmlns:a16="http://schemas.microsoft.com/office/drawing/2014/main" id="{1BE5F484-7DFD-4E36-915A-F86CF8616CC8}"/>
              </a:ext>
            </a:extLst>
          </p:cNvPr>
          <p:cNvSpPr>
            <a:spLocks noGrp="1"/>
          </p:cNvSpPr>
          <p:nvPr>
            <p:ph type="sldNum" sz="quarter" idx="12"/>
          </p:nvPr>
        </p:nvSpPr>
        <p:spPr/>
        <p:txBody>
          <a:bodyPr/>
          <a:lstStyle/>
          <a:p>
            <a:fld id="{6EC7C466-5A16-4023-AA09-946F295C46EC}" type="slidenum">
              <a:rPr lang="en-GB" smtClean="0"/>
              <a:t>11</a:t>
            </a:fld>
            <a:endParaRPr lang="en-GB"/>
          </a:p>
        </p:txBody>
      </p:sp>
    </p:spTree>
    <p:extLst>
      <p:ext uri="{BB962C8B-B14F-4D97-AF65-F5344CB8AC3E}">
        <p14:creationId xmlns:p14="http://schemas.microsoft.com/office/powerpoint/2010/main" val="24877863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5C73C7-09D8-4FAC-AABF-E6600EA5961E}"/>
              </a:ext>
            </a:extLst>
          </p:cNvPr>
          <p:cNvSpPr>
            <a:spLocks noGrp="1"/>
          </p:cNvSpPr>
          <p:nvPr>
            <p:ph type="title"/>
          </p:nvPr>
        </p:nvSpPr>
        <p:spPr/>
        <p:txBody>
          <a:bodyPr/>
          <a:lstStyle/>
          <a:p>
            <a:r>
              <a:rPr lang="en-GB" dirty="0"/>
              <a:t>Conclusions and recommendations</a:t>
            </a:r>
          </a:p>
        </p:txBody>
      </p:sp>
      <p:graphicFrame>
        <p:nvGraphicFramePr>
          <p:cNvPr id="5" name="Content Placeholder 4" descr="SmartArt with text:&#10;In some forms for some conditions, the evidence supports the assertion that PC leads to lower healthcare utilisation. The evidence is strongest for SSM in COPD.&#13;&#10;There is cross-condition support for the positive impact that PC has on patient health, wellbeing and clinical outcomes&#13;&#10;Deep dive analyses would be instructive to identify areas of variation and relationships of PC interventions to deprivation and other wider determinants of health&#13;&#10;More research is required to understand more about the other components of PC and their impact, as well as more exploration of how the indirect impacts might reduce utilisation in the longer term&#13;&#10;More evidence is required to explore the person-centric impact of PC, not just one of the components or its interventions in isolation of the others&#13;&#10;More information is needed about the impact of PC interventions on utilisation in primary care&#13;&#10;An evidence review could look at co-morbid patients, and the impact that PC interventions have for them&#13;&#10;Exploration may be constructive around the impact on staff">
            <a:extLst>
              <a:ext uri="{FF2B5EF4-FFF2-40B4-BE49-F238E27FC236}">
                <a16:creationId xmlns:a16="http://schemas.microsoft.com/office/drawing/2014/main" id="{315E531C-37A9-4648-9581-20E9C32A7834}"/>
              </a:ext>
            </a:extLst>
          </p:cNvPr>
          <p:cNvGraphicFramePr>
            <a:graphicFrameLocks noGrp="1"/>
          </p:cNvGraphicFramePr>
          <p:nvPr>
            <p:ph idx="1"/>
            <p:extLst>
              <p:ext uri="{D42A27DB-BD31-4B8C-83A1-F6EECF244321}">
                <p14:modId xmlns:p14="http://schemas.microsoft.com/office/powerpoint/2010/main" val="668577921"/>
              </p:ext>
            </p:extLst>
          </p:nvPr>
        </p:nvGraphicFramePr>
        <p:xfrm>
          <a:off x="838200" y="1825624"/>
          <a:ext cx="10515600" cy="46005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a:extLst>
              <a:ext uri="{FF2B5EF4-FFF2-40B4-BE49-F238E27FC236}">
                <a16:creationId xmlns:a16="http://schemas.microsoft.com/office/drawing/2014/main" id="{C5557CAD-58D6-41F4-AA0E-BC16A16B7F18}"/>
              </a:ext>
            </a:extLst>
          </p:cNvPr>
          <p:cNvSpPr>
            <a:spLocks noGrp="1"/>
          </p:cNvSpPr>
          <p:nvPr>
            <p:ph type="sldNum" sz="quarter" idx="12"/>
          </p:nvPr>
        </p:nvSpPr>
        <p:spPr/>
        <p:txBody>
          <a:bodyPr/>
          <a:lstStyle/>
          <a:p>
            <a:fld id="{6EC7C466-5A16-4023-AA09-946F295C46EC}" type="slidenum">
              <a:rPr lang="en-GB" smtClean="0"/>
              <a:t>12</a:t>
            </a:fld>
            <a:endParaRPr lang="en-GB"/>
          </a:p>
        </p:txBody>
      </p:sp>
    </p:spTree>
    <p:extLst>
      <p:ext uri="{BB962C8B-B14F-4D97-AF65-F5344CB8AC3E}">
        <p14:creationId xmlns:p14="http://schemas.microsoft.com/office/powerpoint/2010/main" val="12363931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89C2004-90FA-4C43-B2E0-3E48015F9ED8}"/>
              </a:ext>
            </a:extLst>
          </p:cNvPr>
          <p:cNvSpPr>
            <a:spLocks noGrp="1"/>
          </p:cNvSpPr>
          <p:nvPr>
            <p:ph type="title"/>
          </p:nvPr>
        </p:nvSpPr>
        <p:spPr/>
        <p:txBody>
          <a:bodyPr/>
          <a:lstStyle/>
          <a:p>
            <a:r>
              <a:rPr lang="en-GB" dirty="0"/>
              <a:t>Background</a:t>
            </a:r>
          </a:p>
        </p:txBody>
      </p:sp>
      <p:graphicFrame>
        <p:nvGraphicFramePr>
          <p:cNvPr id="2" name="Content Placeholder 1" descr="SmartArt showing text:&#10;- Personalised Care is a key policy for the NHS, and part of the LTP&#13;&#10;- Aim: to embed personalised, person-centred care into all local health systems&#13;&#10;- Evidence for the effectiveness of PC has been sporadic, and piecemeal&#13;&#10;- Current need for a  review of the evidence, to support planning and policy-making&#13;&#10;- Commission from the Evidence Task &amp; Finish Group to undertake such a review for fast delivery&#13;&#10;- Transformation Partnership in Health &amp; Care (Royal Free London NHS FT) undertook this commission ">
            <a:extLst>
              <a:ext uri="{FF2B5EF4-FFF2-40B4-BE49-F238E27FC236}">
                <a16:creationId xmlns:a16="http://schemas.microsoft.com/office/drawing/2014/main" id="{3770EAA8-342C-4260-ABE6-C5934B510BAC}"/>
              </a:ext>
            </a:extLst>
          </p:cNvPr>
          <p:cNvGraphicFramePr>
            <a:graphicFrameLocks noGrp="1"/>
          </p:cNvGraphicFramePr>
          <p:nvPr>
            <p:ph idx="1"/>
            <p:extLst>
              <p:ext uri="{D42A27DB-BD31-4B8C-83A1-F6EECF244321}">
                <p14:modId xmlns:p14="http://schemas.microsoft.com/office/powerpoint/2010/main" val="3627363345"/>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Slide Number Placeholder 4">
            <a:extLst>
              <a:ext uri="{FF2B5EF4-FFF2-40B4-BE49-F238E27FC236}">
                <a16:creationId xmlns:a16="http://schemas.microsoft.com/office/drawing/2014/main" id="{002BC7DB-285A-4D8A-8C54-7F402D7C49ED}"/>
              </a:ext>
            </a:extLst>
          </p:cNvPr>
          <p:cNvSpPr>
            <a:spLocks noGrp="1"/>
          </p:cNvSpPr>
          <p:nvPr>
            <p:ph type="sldNum" sz="quarter" idx="12"/>
          </p:nvPr>
        </p:nvSpPr>
        <p:spPr/>
        <p:txBody>
          <a:bodyPr/>
          <a:lstStyle/>
          <a:p>
            <a:fld id="{6EC7C466-5A16-4023-AA09-946F295C46EC}" type="slidenum">
              <a:rPr lang="en-GB" smtClean="0"/>
              <a:t>2</a:t>
            </a:fld>
            <a:endParaRPr lang="en-GB"/>
          </a:p>
        </p:txBody>
      </p:sp>
    </p:spTree>
    <p:extLst>
      <p:ext uri="{BB962C8B-B14F-4D97-AF65-F5344CB8AC3E}">
        <p14:creationId xmlns:p14="http://schemas.microsoft.com/office/powerpoint/2010/main" val="17682952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3BFE8C-C599-4036-BAE9-B173A5CAA395}"/>
              </a:ext>
            </a:extLst>
          </p:cNvPr>
          <p:cNvSpPr>
            <a:spLocks noGrp="1"/>
          </p:cNvSpPr>
          <p:nvPr>
            <p:ph type="title"/>
          </p:nvPr>
        </p:nvSpPr>
        <p:spPr/>
        <p:txBody>
          <a:bodyPr/>
          <a:lstStyle/>
          <a:p>
            <a:r>
              <a:rPr lang="en-GB" dirty="0"/>
              <a:t>The Brief</a:t>
            </a:r>
          </a:p>
        </p:txBody>
      </p:sp>
      <p:sp>
        <p:nvSpPr>
          <p:cNvPr id="3" name="Content Placeholder 2">
            <a:extLst>
              <a:ext uri="{FF2B5EF4-FFF2-40B4-BE49-F238E27FC236}">
                <a16:creationId xmlns:a16="http://schemas.microsoft.com/office/drawing/2014/main" id="{EDBD3322-B48D-4948-A75D-619004C88D9A}"/>
              </a:ext>
            </a:extLst>
          </p:cNvPr>
          <p:cNvSpPr>
            <a:spLocks noGrp="1"/>
          </p:cNvSpPr>
          <p:nvPr>
            <p:ph idx="1"/>
          </p:nvPr>
        </p:nvSpPr>
        <p:spPr>
          <a:ln>
            <a:solidFill>
              <a:schemeClr val="tx2"/>
            </a:solidFill>
          </a:ln>
        </p:spPr>
        <p:txBody>
          <a:bodyPr/>
          <a:lstStyle/>
          <a:p>
            <a:pPr>
              <a:lnSpc>
                <a:spcPct val="107000"/>
              </a:lnSpc>
              <a:spcAft>
                <a:spcPts val="800"/>
              </a:spcAft>
            </a:pPr>
            <a:r>
              <a:rPr lang="en-GB" sz="1800" dirty="0">
                <a:effectLst/>
                <a:latin typeface="Arial" panose="020B0604020202020204" pitchFamily="34" charset="0"/>
                <a:ea typeface="Calibri" panose="020F0502020204030204" pitchFamily="34" charset="0"/>
                <a:cs typeface="Times New Roman" panose="02020603050405020304" pitchFamily="18" charset="0"/>
              </a:rPr>
              <a:t>Establish 3 key high impact areas where felt personalised care has</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mj-lt"/>
              <a:buAutoNum type="arabicPeriod"/>
            </a:pPr>
            <a:r>
              <a:rPr lang="en-GB" sz="1800" dirty="0">
                <a:effectLst/>
                <a:latin typeface="Arial" panose="020B0604020202020204" pitchFamily="34" charset="0"/>
                <a:ea typeface="Times New Roman" panose="02020603050405020304" pitchFamily="18" charset="0"/>
                <a:cs typeface="Times New Roman" panose="02020603050405020304" pitchFamily="18" charset="0"/>
              </a:rPr>
              <a:t>A strong evidence base</a:t>
            </a:r>
            <a:endParaRPr lang="en-GB"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lvl="0" indent="-342900">
              <a:lnSpc>
                <a:spcPct val="107000"/>
              </a:lnSpc>
              <a:buFont typeface="+mj-lt"/>
              <a:buAutoNum type="arabicPeriod"/>
            </a:pPr>
            <a:r>
              <a:rPr lang="en-GB" sz="1800" dirty="0">
                <a:effectLst/>
                <a:latin typeface="Arial" panose="020B0604020202020204" pitchFamily="34" charset="0"/>
                <a:ea typeface="Times New Roman" panose="02020603050405020304" pitchFamily="18" charset="0"/>
                <a:cs typeface="Times New Roman" panose="02020603050405020304" pitchFamily="18" charset="0"/>
              </a:rPr>
              <a:t>A key role in improving health and care</a:t>
            </a:r>
            <a:endParaRPr lang="en-GB"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lvl="0" indent="-342900">
              <a:lnSpc>
                <a:spcPct val="107000"/>
              </a:lnSpc>
              <a:buFont typeface="+mj-lt"/>
              <a:buAutoNum type="arabicPeriod"/>
            </a:pPr>
            <a:r>
              <a:rPr lang="en-GB" sz="1800" dirty="0">
                <a:effectLst/>
                <a:latin typeface="Arial" panose="020B0604020202020204" pitchFamily="34" charset="0"/>
                <a:ea typeface="Times New Roman" panose="02020603050405020304" pitchFamily="18" charset="0"/>
                <a:cs typeface="Times New Roman" panose="02020603050405020304" pitchFamily="18" charset="0"/>
              </a:rPr>
              <a:t>Aligned to a high priority area for the NHS</a:t>
            </a:r>
            <a:endParaRPr lang="en-GB"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lvl="0" indent="-342900">
              <a:lnSpc>
                <a:spcPct val="107000"/>
              </a:lnSpc>
              <a:spcAft>
                <a:spcPts val="800"/>
              </a:spcAft>
              <a:buFont typeface="+mj-lt"/>
              <a:buAutoNum type="arabicPeriod"/>
            </a:pPr>
            <a:r>
              <a:rPr lang="en-GB" sz="1800" dirty="0">
                <a:effectLst/>
                <a:latin typeface="Arial" panose="020B0604020202020204" pitchFamily="34" charset="0"/>
                <a:ea typeface="Times New Roman" panose="02020603050405020304" pitchFamily="18" charset="0"/>
                <a:cs typeface="Times New Roman" panose="02020603050405020304" pitchFamily="18" charset="0"/>
              </a:rPr>
              <a:t>Can demonstrate high impact to current priorities</a:t>
            </a:r>
            <a:endParaRPr lang="en-GB" sz="1800" dirty="0">
              <a:effectLst/>
              <a:latin typeface="Calibri" panose="020F0502020204030204" pitchFamily="34" charset="0"/>
              <a:ea typeface="Times New Roman" panose="02020603050405020304" pitchFamily="18" charset="0"/>
              <a:cs typeface="Times New Roman" panose="02020603050405020304" pitchFamily="18" charset="0"/>
            </a:endParaRPr>
          </a:p>
          <a:p>
            <a:pPr>
              <a:lnSpc>
                <a:spcPct val="107000"/>
              </a:lnSpc>
              <a:spcAft>
                <a:spcPts val="800"/>
              </a:spcAft>
            </a:pPr>
            <a:r>
              <a:rPr lang="en-GB" sz="1800" dirty="0">
                <a:effectLst/>
                <a:latin typeface="Arial" panose="020B0604020202020204" pitchFamily="34" charset="0"/>
                <a:ea typeface="Calibri" panose="020F0502020204030204" pitchFamily="34" charset="0"/>
                <a:cs typeface="Times New Roman" panose="02020603050405020304" pitchFamily="18" charset="0"/>
              </a:rPr>
              <a:t>Conduct and produce literature review of the evidence in these key areas.</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dirty="0">
                <a:effectLst/>
                <a:latin typeface="Arial" panose="020B0604020202020204" pitchFamily="34" charset="0"/>
                <a:ea typeface="Calibri" panose="020F0502020204030204" pitchFamily="34" charset="0"/>
                <a:cs typeface="Times New Roman" panose="02020603050405020304" pitchFamily="18" charset="0"/>
              </a:rPr>
              <a:t>Develop resource/products for each high impact area that can be used to influence decision making where personalised care makes its greatest impact.            </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dirty="0">
                <a:effectLst/>
                <a:latin typeface="Arial" panose="020B0604020202020204" pitchFamily="34" charset="0"/>
                <a:ea typeface="Calibri" panose="020F0502020204030204" pitchFamily="34" charset="0"/>
                <a:cs typeface="Times New Roman" panose="02020603050405020304" pitchFamily="18" charset="0"/>
              </a:rPr>
              <a:t>These areas are to be Diabetes, MSK and acute respiratory disease (COPD).</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C46A74F5-21D0-4907-B2A1-6BFC10EA8A4F}"/>
              </a:ext>
            </a:extLst>
          </p:cNvPr>
          <p:cNvSpPr>
            <a:spLocks noGrp="1"/>
          </p:cNvSpPr>
          <p:nvPr>
            <p:ph type="sldNum" sz="quarter" idx="12"/>
          </p:nvPr>
        </p:nvSpPr>
        <p:spPr/>
        <p:txBody>
          <a:bodyPr/>
          <a:lstStyle/>
          <a:p>
            <a:fld id="{6EC7C466-5A16-4023-AA09-946F295C46EC}" type="slidenum">
              <a:rPr lang="en-GB" smtClean="0"/>
              <a:t>3</a:t>
            </a:fld>
            <a:endParaRPr lang="en-GB"/>
          </a:p>
        </p:txBody>
      </p:sp>
    </p:spTree>
    <p:extLst>
      <p:ext uri="{BB962C8B-B14F-4D97-AF65-F5344CB8AC3E}">
        <p14:creationId xmlns:p14="http://schemas.microsoft.com/office/powerpoint/2010/main" val="30013738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846DCF-8A58-4579-B752-18D79FA7A7E3}"/>
              </a:ext>
            </a:extLst>
          </p:cNvPr>
          <p:cNvSpPr>
            <a:spLocks noGrp="1"/>
          </p:cNvSpPr>
          <p:nvPr>
            <p:ph type="title"/>
          </p:nvPr>
        </p:nvSpPr>
        <p:spPr/>
        <p:txBody>
          <a:bodyPr/>
          <a:lstStyle/>
          <a:p>
            <a:r>
              <a:rPr lang="en-GB" dirty="0"/>
              <a:t>Methodology</a:t>
            </a:r>
          </a:p>
        </p:txBody>
      </p:sp>
      <p:graphicFrame>
        <p:nvGraphicFramePr>
          <p:cNvPr id="5" name="Content Placeholder 4" descr="SmartArt showing text:&#10;•Full Systematic Review beyond budget and timescale, so Rapid Evidence Assessment selected as methodology, with broadly qualitative approach using narrative synthesis&#10;•Papers under review were limited to Systematic Reviews and Meta-analyses to limit numbers&#10;•PICO tool produced this Research Question: ‘In those with MSK, diabetes or respiratory disease (P), what has been the effect of “Personalised Care” [as defined by the universal model of personalised care] (I) on health utilisation, clinical outcomes, wellbeing outcomes, patient experience &amp; safety (O)?’&#10;•Search strings developed with input from SMEs, using wildcards and Boolean operators&#10;•On academic advice, we limited our search to Embase, Medline and the Cochrane Library">
            <a:extLst>
              <a:ext uri="{FF2B5EF4-FFF2-40B4-BE49-F238E27FC236}">
                <a16:creationId xmlns:a16="http://schemas.microsoft.com/office/drawing/2014/main" id="{9B291015-780B-4E9D-9381-9E74E47D4EA6}"/>
              </a:ext>
            </a:extLst>
          </p:cNvPr>
          <p:cNvGraphicFramePr>
            <a:graphicFrameLocks noGrp="1"/>
          </p:cNvGraphicFramePr>
          <p:nvPr>
            <p:ph idx="1"/>
            <p:extLst>
              <p:ext uri="{D42A27DB-BD31-4B8C-83A1-F6EECF244321}">
                <p14:modId xmlns:p14="http://schemas.microsoft.com/office/powerpoint/2010/main" val="3951016835"/>
              </p:ext>
            </p:extLst>
          </p:nvPr>
        </p:nvGraphicFramePr>
        <p:xfrm>
          <a:off x="838199" y="1825625"/>
          <a:ext cx="10786533"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a:extLst>
              <a:ext uri="{FF2B5EF4-FFF2-40B4-BE49-F238E27FC236}">
                <a16:creationId xmlns:a16="http://schemas.microsoft.com/office/drawing/2014/main" id="{92079D5F-3B20-49D5-8550-55FB5CF5076C}"/>
              </a:ext>
            </a:extLst>
          </p:cNvPr>
          <p:cNvSpPr>
            <a:spLocks noGrp="1"/>
          </p:cNvSpPr>
          <p:nvPr>
            <p:ph type="sldNum" sz="quarter" idx="12"/>
          </p:nvPr>
        </p:nvSpPr>
        <p:spPr/>
        <p:txBody>
          <a:bodyPr/>
          <a:lstStyle/>
          <a:p>
            <a:fld id="{6EC7C466-5A16-4023-AA09-946F295C46EC}" type="slidenum">
              <a:rPr lang="en-GB" smtClean="0"/>
              <a:t>4</a:t>
            </a:fld>
            <a:endParaRPr lang="en-GB"/>
          </a:p>
        </p:txBody>
      </p:sp>
    </p:spTree>
    <p:extLst>
      <p:ext uri="{BB962C8B-B14F-4D97-AF65-F5344CB8AC3E}">
        <p14:creationId xmlns:p14="http://schemas.microsoft.com/office/powerpoint/2010/main" val="32999344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752A70-BA14-40B0-8131-5003A68C5387}"/>
              </a:ext>
            </a:extLst>
          </p:cNvPr>
          <p:cNvSpPr>
            <a:spLocks noGrp="1"/>
          </p:cNvSpPr>
          <p:nvPr>
            <p:ph type="title"/>
          </p:nvPr>
        </p:nvSpPr>
        <p:spPr/>
        <p:txBody>
          <a:bodyPr/>
          <a:lstStyle/>
          <a:p>
            <a:r>
              <a:rPr lang="en-GB" dirty="0"/>
              <a:t>Screening</a:t>
            </a:r>
          </a:p>
        </p:txBody>
      </p:sp>
      <p:sp>
        <p:nvSpPr>
          <p:cNvPr id="4" name="Slide Number Placeholder 3">
            <a:extLst>
              <a:ext uri="{FF2B5EF4-FFF2-40B4-BE49-F238E27FC236}">
                <a16:creationId xmlns:a16="http://schemas.microsoft.com/office/drawing/2014/main" id="{1CA15989-3F1A-4B53-B4B9-C9EAFC803FD2}"/>
              </a:ext>
            </a:extLst>
          </p:cNvPr>
          <p:cNvSpPr>
            <a:spLocks noGrp="1"/>
          </p:cNvSpPr>
          <p:nvPr>
            <p:ph type="sldNum" sz="quarter" idx="12"/>
          </p:nvPr>
        </p:nvSpPr>
        <p:spPr/>
        <p:txBody>
          <a:bodyPr/>
          <a:lstStyle/>
          <a:p>
            <a:fld id="{6EC7C466-5A16-4023-AA09-946F295C46EC}" type="slidenum">
              <a:rPr lang="en-GB" smtClean="0"/>
              <a:t>5</a:t>
            </a:fld>
            <a:endParaRPr lang="en-GB"/>
          </a:p>
        </p:txBody>
      </p:sp>
      <p:graphicFrame>
        <p:nvGraphicFramePr>
          <p:cNvPr id="5" name="Diagram 12" descr="SmartArt showing four boxes:&#10;•Stage 1: Search the databases&#10;Papers found:&#10;Diabetes = 407&#10;MSK = 304&#10;COPD = 129&#10;•Stage 2: Initial screening (relevance scoring)&#10;Scored for relevance&#10;Papers left: &#10;Diabetes = 258&#10;MSK = 155&#10;COPD = 95&#10;•Stage 3: Longlisting (algorithmic search of abstracts)&#10;Excel algorithm to identify relevant keywords within abstract&#10;Papers left:&#10;Diabetes = 33&#10;MSK = 19&#10;COPD = 13&#10;•Stage 4: shortlisting&#10;Abstracts scanned for relevance&#10;Papers left:&#10;Diabetes = 19&#10;MSK = 15&#10;COPD = 5&#10;">
            <a:extLst>
              <a:ext uri="{FF2B5EF4-FFF2-40B4-BE49-F238E27FC236}">
                <a16:creationId xmlns:a16="http://schemas.microsoft.com/office/drawing/2014/main" id="{83538A83-D953-420E-9659-F4A9AA6E99D4}"/>
              </a:ext>
            </a:extLst>
          </p:cNvPr>
          <p:cNvGraphicFramePr/>
          <p:nvPr>
            <p:extLst>
              <p:ext uri="{D42A27DB-BD31-4B8C-83A1-F6EECF244321}">
                <p14:modId xmlns:p14="http://schemas.microsoft.com/office/powerpoint/2010/main" val="279542353"/>
              </p:ext>
            </p:extLst>
          </p:nvPr>
        </p:nvGraphicFramePr>
        <p:xfrm>
          <a:off x="554560" y="1617133"/>
          <a:ext cx="11085870" cy="488940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0320125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C7D75F-0845-46ED-83D3-BC726522F1DA}"/>
              </a:ext>
            </a:extLst>
          </p:cNvPr>
          <p:cNvSpPr>
            <a:spLocks noGrp="1"/>
          </p:cNvSpPr>
          <p:nvPr>
            <p:ph type="title"/>
          </p:nvPr>
        </p:nvSpPr>
        <p:spPr/>
        <p:txBody>
          <a:bodyPr/>
          <a:lstStyle/>
          <a:p>
            <a:r>
              <a:rPr lang="en-GB" dirty="0"/>
              <a:t>Review quality</a:t>
            </a:r>
          </a:p>
        </p:txBody>
      </p:sp>
      <p:graphicFrame>
        <p:nvGraphicFramePr>
          <p:cNvPr id="6" name="Content Placeholder 5" descr="SmartArt showing text:&#10;AMSTAR2 (A Measurement Tool to Assess Systematic Reviews) was deployed to assess the quality of the reviews shortlisted&#13;&#10;Among other factors, it assesses&#13;&#10;- research questions and inclusion criteria&#13;&#10;- establishment of review methods&#13;&#10;- study selection and data extraction procedures&#13;&#10;- risk of bias assessment&#13;&#10;- data synthesis&#13;&#10;- publication bias investigation&#13;&#10;Scores were weighted, summed and a mean taken to provide comparability&#13;&#10;Scores for the reviewed papers in table below">
            <a:extLst>
              <a:ext uri="{FF2B5EF4-FFF2-40B4-BE49-F238E27FC236}">
                <a16:creationId xmlns:a16="http://schemas.microsoft.com/office/drawing/2014/main" id="{FC7B9BEF-0DDD-4060-84CC-7BE4C1EAF2AF}"/>
              </a:ext>
            </a:extLst>
          </p:cNvPr>
          <p:cNvGraphicFramePr>
            <a:graphicFrameLocks noGrp="1"/>
          </p:cNvGraphicFramePr>
          <p:nvPr>
            <p:ph idx="1"/>
            <p:extLst>
              <p:ext uri="{D42A27DB-BD31-4B8C-83A1-F6EECF244321}">
                <p14:modId xmlns:p14="http://schemas.microsoft.com/office/powerpoint/2010/main" val="3880107957"/>
              </p:ext>
            </p:extLst>
          </p:nvPr>
        </p:nvGraphicFramePr>
        <p:xfrm>
          <a:off x="838200" y="1580092"/>
          <a:ext cx="10515600" cy="292777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a:extLst>
              <a:ext uri="{FF2B5EF4-FFF2-40B4-BE49-F238E27FC236}">
                <a16:creationId xmlns:a16="http://schemas.microsoft.com/office/drawing/2014/main" id="{06A81A53-C52B-40A1-8B6A-A161CC10B111}"/>
              </a:ext>
            </a:extLst>
          </p:cNvPr>
          <p:cNvSpPr>
            <a:spLocks noGrp="1"/>
          </p:cNvSpPr>
          <p:nvPr>
            <p:ph type="sldNum" sz="quarter" idx="12"/>
          </p:nvPr>
        </p:nvSpPr>
        <p:spPr/>
        <p:txBody>
          <a:bodyPr/>
          <a:lstStyle/>
          <a:p>
            <a:fld id="{6EC7C466-5A16-4023-AA09-946F295C46EC}" type="slidenum">
              <a:rPr lang="en-GB" smtClean="0"/>
              <a:t>6</a:t>
            </a:fld>
            <a:endParaRPr lang="en-GB"/>
          </a:p>
        </p:txBody>
      </p:sp>
      <p:graphicFrame>
        <p:nvGraphicFramePr>
          <p:cNvPr id="5" name="Table 5">
            <a:extLst>
              <a:ext uri="{FF2B5EF4-FFF2-40B4-BE49-F238E27FC236}">
                <a16:creationId xmlns:a16="http://schemas.microsoft.com/office/drawing/2014/main" id="{4E1919F0-7218-4F77-99D0-FC1AE5C5D643}"/>
              </a:ext>
            </a:extLst>
          </p:cNvPr>
          <p:cNvGraphicFramePr>
            <a:graphicFrameLocks noGrp="1"/>
          </p:cNvGraphicFramePr>
          <p:nvPr>
            <p:extLst>
              <p:ext uri="{D42A27DB-BD31-4B8C-83A1-F6EECF244321}">
                <p14:modId xmlns:p14="http://schemas.microsoft.com/office/powerpoint/2010/main" val="3359234802"/>
              </p:ext>
            </p:extLst>
          </p:nvPr>
        </p:nvGraphicFramePr>
        <p:xfrm>
          <a:off x="838200" y="4507865"/>
          <a:ext cx="6419214" cy="1428750"/>
        </p:xfrm>
        <a:graphic>
          <a:graphicData uri="http://schemas.openxmlformats.org/drawingml/2006/table">
            <a:tbl>
              <a:tblPr firstRow="1" bandRow="1">
                <a:tableStyleId>{5C22544A-7EE6-4342-B048-85BDC9FD1C3A}</a:tableStyleId>
              </a:tblPr>
              <a:tblGrid>
                <a:gridCol w="1253067">
                  <a:extLst>
                    <a:ext uri="{9D8B030D-6E8A-4147-A177-3AD203B41FA5}">
                      <a16:colId xmlns:a16="http://schemas.microsoft.com/office/drawing/2014/main" val="1589035056"/>
                    </a:ext>
                  </a:extLst>
                </a:gridCol>
                <a:gridCol w="1202266">
                  <a:extLst>
                    <a:ext uri="{9D8B030D-6E8A-4147-A177-3AD203B41FA5}">
                      <a16:colId xmlns:a16="http://schemas.microsoft.com/office/drawing/2014/main" val="3054031508"/>
                    </a:ext>
                  </a:extLst>
                </a:gridCol>
                <a:gridCol w="532130">
                  <a:extLst>
                    <a:ext uri="{9D8B030D-6E8A-4147-A177-3AD203B41FA5}">
                      <a16:colId xmlns:a16="http://schemas.microsoft.com/office/drawing/2014/main" val="2927485433"/>
                    </a:ext>
                  </a:extLst>
                </a:gridCol>
                <a:gridCol w="991870">
                  <a:extLst>
                    <a:ext uri="{9D8B030D-6E8A-4147-A177-3AD203B41FA5}">
                      <a16:colId xmlns:a16="http://schemas.microsoft.com/office/drawing/2014/main" val="1621021800"/>
                    </a:ext>
                  </a:extLst>
                </a:gridCol>
                <a:gridCol w="872067">
                  <a:extLst>
                    <a:ext uri="{9D8B030D-6E8A-4147-A177-3AD203B41FA5}">
                      <a16:colId xmlns:a16="http://schemas.microsoft.com/office/drawing/2014/main" val="3684311409"/>
                    </a:ext>
                  </a:extLst>
                </a:gridCol>
                <a:gridCol w="1567814">
                  <a:extLst>
                    <a:ext uri="{9D8B030D-6E8A-4147-A177-3AD203B41FA5}">
                      <a16:colId xmlns:a16="http://schemas.microsoft.com/office/drawing/2014/main" val="4813938"/>
                    </a:ext>
                  </a:extLst>
                </a:gridCol>
              </a:tblGrid>
              <a:tr h="316230">
                <a:tc>
                  <a:txBody>
                    <a:bodyPr/>
                    <a:lstStyle/>
                    <a:p>
                      <a:r>
                        <a:rPr lang="en-GB" sz="1200" dirty="0"/>
                        <a:t>Condition area</a:t>
                      </a:r>
                    </a:p>
                  </a:txBody>
                  <a:tcPr/>
                </a:tc>
                <a:tc>
                  <a:txBody>
                    <a:bodyPr/>
                    <a:lstStyle/>
                    <a:p>
                      <a:pPr algn="ctr"/>
                      <a:r>
                        <a:rPr lang="en-GB" sz="1200" dirty="0"/>
                        <a:t>Critically low</a:t>
                      </a:r>
                    </a:p>
                  </a:txBody>
                  <a:tcPr/>
                </a:tc>
                <a:tc>
                  <a:txBody>
                    <a:bodyPr/>
                    <a:lstStyle/>
                    <a:p>
                      <a:pPr algn="ctr"/>
                      <a:r>
                        <a:rPr lang="en-GB" sz="1200" dirty="0"/>
                        <a:t>Low</a:t>
                      </a:r>
                    </a:p>
                  </a:txBody>
                  <a:tcPr/>
                </a:tc>
                <a:tc>
                  <a:txBody>
                    <a:bodyPr/>
                    <a:lstStyle/>
                    <a:p>
                      <a:pPr algn="ctr"/>
                      <a:r>
                        <a:rPr lang="en-GB" sz="1200" dirty="0"/>
                        <a:t>Moderate</a:t>
                      </a:r>
                    </a:p>
                  </a:txBody>
                  <a:tcPr/>
                </a:tc>
                <a:tc>
                  <a:txBody>
                    <a:bodyPr/>
                    <a:lstStyle/>
                    <a:p>
                      <a:pPr algn="ctr"/>
                      <a:r>
                        <a:rPr lang="en-GB" sz="1200" dirty="0"/>
                        <a:t>High</a:t>
                      </a:r>
                    </a:p>
                  </a:txBody>
                  <a:tcPr/>
                </a:tc>
                <a:tc>
                  <a:txBody>
                    <a:bodyPr/>
                    <a:lstStyle/>
                    <a:p>
                      <a:pPr algn="ctr"/>
                      <a:r>
                        <a:rPr lang="en-GB" sz="1200" dirty="0"/>
                        <a:t>Adjusted score</a:t>
                      </a:r>
                    </a:p>
                  </a:txBody>
                  <a:tcPr/>
                </a:tc>
                <a:extLst>
                  <a:ext uri="{0D108BD9-81ED-4DB2-BD59-A6C34878D82A}">
                    <a16:rowId xmlns:a16="http://schemas.microsoft.com/office/drawing/2014/main" val="2886095636"/>
                  </a:ext>
                </a:extLst>
              </a:tr>
              <a:tr h="370840">
                <a:tc>
                  <a:txBody>
                    <a:bodyPr/>
                    <a:lstStyle/>
                    <a:p>
                      <a:r>
                        <a:rPr lang="en-GB" sz="1200" dirty="0"/>
                        <a:t>Diabetes</a:t>
                      </a:r>
                    </a:p>
                  </a:txBody>
                  <a:tcPr/>
                </a:tc>
                <a:tc>
                  <a:txBody>
                    <a:bodyPr/>
                    <a:lstStyle/>
                    <a:p>
                      <a:pPr algn="ctr"/>
                      <a:r>
                        <a:rPr lang="en-GB" sz="1200" dirty="0"/>
                        <a:t>0</a:t>
                      </a:r>
                    </a:p>
                  </a:txBody>
                  <a:tcPr/>
                </a:tc>
                <a:tc>
                  <a:txBody>
                    <a:bodyPr/>
                    <a:lstStyle/>
                    <a:p>
                      <a:pPr algn="ctr"/>
                      <a:r>
                        <a:rPr lang="en-GB" sz="1200" dirty="0"/>
                        <a:t>4</a:t>
                      </a:r>
                    </a:p>
                  </a:txBody>
                  <a:tcPr/>
                </a:tc>
                <a:tc>
                  <a:txBody>
                    <a:bodyPr/>
                    <a:lstStyle/>
                    <a:p>
                      <a:pPr algn="ctr"/>
                      <a:r>
                        <a:rPr lang="en-GB" sz="1200" dirty="0"/>
                        <a:t>7</a:t>
                      </a:r>
                    </a:p>
                  </a:txBody>
                  <a:tcPr/>
                </a:tc>
                <a:tc>
                  <a:txBody>
                    <a:bodyPr/>
                    <a:lstStyle/>
                    <a:p>
                      <a:pPr algn="ctr"/>
                      <a:r>
                        <a:rPr lang="en-GB" sz="1200" dirty="0"/>
                        <a:t>8</a:t>
                      </a:r>
                    </a:p>
                  </a:txBody>
                  <a:tcPr/>
                </a:tc>
                <a:tc>
                  <a:txBody>
                    <a:bodyPr/>
                    <a:lstStyle/>
                    <a:p>
                      <a:pPr algn="ctr"/>
                      <a:r>
                        <a:rPr lang="en-GB" sz="1200" b="1" dirty="0"/>
                        <a:t>3.21</a:t>
                      </a:r>
                    </a:p>
                  </a:txBody>
                  <a:tcPr/>
                </a:tc>
                <a:extLst>
                  <a:ext uri="{0D108BD9-81ED-4DB2-BD59-A6C34878D82A}">
                    <a16:rowId xmlns:a16="http://schemas.microsoft.com/office/drawing/2014/main" val="3366907424"/>
                  </a:ext>
                </a:extLst>
              </a:tr>
              <a:tr h="370840">
                <a:tc>
                  <a:txBody>
                    <a:bodyPr/>
                    <a:lstStyle/>
                    <a:p>
                      <a:r>
                        <a:rPr lang="en-GB" sz="1200" dirty="0"/>
                        <a:t>MSK</a:t>
                      </a:r>
                    </a:p>
                  </a:txBody>
                  <a:tcPr/>
                </a:tc>
                <a:tc>
                  <a:txBody>
                    <a:bodyPr/>
                    <a:lstStyle/>
                    <a:p>
                      <a:pPr algn="ctr"/>
                      <a:r>
                        <a:rPr lang="en-GB" sz="1200" dirty="0"/>
                        <a:t>2</a:t>
                      </a:r>
                    </a:p>
                  </a:txBody>
                  <a:tcPr/>
                </a:tc>
                <a:tc>
                  <a:txBody>
                    <a:bodyPr/>
                    <a:lstStyle/>
                    <a:p>
                      <a:pPr algn="ctr"/>
                      <a:r>
                        <a:rPr lang="en-GB" sz="1200" dirty="0"/>
                        <a:t>0</a:t>
                      </a:r>
                    </a:p>
                  </a:txBody>
                  <a:tcPr/>
                </a:tc>
                <a:tc>
                  <a:txBody>
                    <a:bodyPr/>
                    <a:lstStyle/>
                    <a:p>
                      <a:pPr algn="ctr"/>
                      <a:r>
                        <a:rPr lang="en-GB" sz="1200" dirty="0"/>
                        <a:t>3</a:t>
                      </a:r>
                    </a:p>
                  </a:txBody>
                  <a:tcPr/>
                </a:tc>
                <a:tc>
                  <a:txBody>
                    <a:bodyPr/>
                    <a:lstStyle/>
                    <a:p>
                      <a:pPr algn="ctr"/>
                      <a:r>
                        <a:rPr lang="en-GB" sz="1200" dirty="0"/>
                        <a:t>4</a:t>
                      </a:r>
                    </a:p>
                  </a:txBody>
                  <a:tcPr/>
                </a:tc>
                <a:tc>
                  <a:txBody>
                    <a:bodyPr/>
                    <a:lstStyle/>
                    <a:p>
                      <a:pPr algn="ctr"/>
                      <a:r>
                        <a:rPr lang="en-GB" sz="1200" b="1" dirty="0"/>
                        <a:t>3</a:t>
                      </a:r>
                    </a:p>
                  </a:txBody>
                  <a:tcPr/>
                </a:tc>
                <a:extLst>
                  <a:ext uri="{0D108BD9-81ED-4DB2-BD59-A6C34878D82A}">
                    <a16:rowId xmlns:a16="http://schemas.microsoft.com/office/drawing/2014/main" val="3623423225"/>
                  </a:ext>
                </a:extLst>
              </a:tr>
              <a:tr h="370840">
                <a:tc>
                  <a:txBody>
                    <a:bodyPr/>
                    <a:lstStyle/>
                    <a:p>
                      <a:r>
                        <a:rPr lang="en-GB" sz="1200" dirty="0"/>
                        <a:t>COPD</a:t>
                      </a:r>
                    </a:p>
                  </a:txBody>
                  <a:tcPr/>
                </a:tc>
                <a:tc>
                  <a:txBody>
                    <a:bodyPr/>
                    <a:lstStyle/>
                    <a:p>
                      <a:pPr algn="ctr"/>
                      <a:r>
                        <a:rPr lang="en-GB" sz="1200" dirty="0"/>
                        <a:t>0</a:t>
                      </a:r>
                    </a:p>
                  </a:txBody>
                  <a:tcPr/>
                </a:tc>
                <a:tc>
                  <a:txBody>
                    <a:bodyPr/>
                    <a:lstStyle/>
                    <a:p>
                      <a:pPr algn="ctr"/>
                      <a:r>
                        <a:rPr lang="en-GB" sz="1200" dirty="0"/>
                        <a:t>0</a:t>
                      </a:r>
                    </a:p>
                  </a:txBody>
                  <a:tcPr/>
                </a:tc>
                <a:tc>
                  <a:txBody>
                    <a:bodyPr/>
                    <a:lstStyle/>
                    <a:p>
                      <a:pPr algn="ctr"/>
                      <a:r>
                        <a:rPr lang="en-GB" sz="1200" dirty="0"/>
                        <a:t>0</a:t>
                      </a:r>
                    </a:p>
                  </a:txBody>
                  <a:tcPr/>
                </a:tc>
                <a:tc>
                  <a:txBody>
                    <a:bodyPr/>
                    <a:lstStyle/>
                    <a:p>
                      <a:pPr algn="ctr"/>
                      <a:r>
                        <a:rPr lang="en-GB" sz="1200" dirty="0"/>
                        <a:t>5</a:t>
                      </a:r>
                    </a:p>
                  </a:txBody>
                  <a:tcPr/>
                </a:tc>
                <a:tc>
                  <a:txBody>
                    <a:bodyPr/>
                    <a:lstStyle/>
                    <a:p>
                      <a:pPr algn="ctr"/>
                      <a:r>
                        <a:rPr lang="en-GB" sz="1200" b="1" dirty="0"/>
                        <a:t>4</a:t>
                      </a:r>
                    </a:p>
                  </a:txBody>
                  <a:tcPr/>
                </a:tc>
                <a:extLst>
                  <a:ext uri="{0D108BD9-81ED-4DB2-BD59-A6C34878D82A}">
                    <a16:rowId xmlns:a16="http://schemas.microsoft.com/office/drawing/2014/main" val="976881663"/>
                  </a:ext>
                </a:extLst>
              </a:tr>
            </a:tbl>
          </a:graphicData>
        </a:graphic>
      </p:graphicFrame>
      <p:sp>
        <p:nvSpPr>
          <p:cNvPr id="7" name="Rectangle 6">
            <a:extLst>
              <a:ext uri="{FF2B5EF4-FFF2-40B4-BE49-F238E27FC236}">
                <a16:creationId xmlns:a16="http://schemas.microsoft.com/office/drawing/2014/main" id="{5BB73F3A-7C1F-4E45-99F4-5C1ADC293256}"/>
              </a:ext>
            </a:extLst>
          </p:cNvPr>
          <p:cNvSpPr/>
          <p:nvPr/>
        </p:nvSpPr>
        <p:spPr>
          <a:xfrm>
            <a:off x="7416800" y="4507865"/>
            <a:ext cx="3937000" cy="142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All scores are acceptable, COPD the best of the three conditions</a:t>
            </a:r>
          </a:p>
        </p:txBody>
      </p:sp>
    </p:spTree>
    <p:extLst>
      <p:ext uri="{BB962C8B-B14F-4D97-AF65-F5344CB8AC3E}">
        <p14:creationId xmlns:p14="http://schemas.microsoft.com/office/powerpoint/2010/main" val="33518376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081D42-A251-4FF1-863E-B8067B1460E4}"/>
              </a:ext>
            </a:extLst>
          </p:cNvPr>
          <p:cNvSpPr>
            <a:spLocks noGrp="1"/>
          </p:cNvSpPr>
          <p:nvPr>
            <p:ph type="title"/>
          </p:nvPr>
        </p:nvSpPr>
        <p:spPr>
          <a:xfrm>
            <a:off x="761999" y="652993"/>
            <a:ext cx="10515600" cy="786342"/>
          </a:xfrm>
        </p:spPr>
        <p:txBody>
          <a:bodyPr>
            <a:normAutofit fontScale="90000"/>
          </a:bodyPr>
          <a:lstStyle/>
          <a:p>
            <a:r>
              <a:rPr lang="en-GB" dirty="0"/>
              <a:t>Headlines: Impact of PC interventions can be seen in 5 areas </a:t>
            </a:r>
            <a:br>
              <a:rPr lang="en-GB" dirty="0"/>
            </a:br>
            <a:endParaRPr lang="en-GB" dirty="0"/>
          </a:p>
        </p:txBody>
      </p:sp>
      <p:graphicFrame>
        <p:nvGraphicFramePr>
          <p:cNvPr id="4" name="Content Placeholder 3" descr="SmartArt showing text:&#10;•Patient expertise in managing their condition. This includes understanding of their condition, greater efficacy in management, and empowerment&#10;•Clinical. Measured using standard clinical outcomes. Evidence varies in strength.&#10;•General health, both physical and mental. The review of NICE Guidelines strongly supported this theme.&#10;•System. Clear evidence that PC interventions reduce hospital admissions, at least for COPD and diabetes. &#10;•Quality of life/ wellbeing. Factors beyond health that improve the patient’s quality of life&#10;">
            <a:extLst>
              <a:ext uri="{FF2B5EF4-FFF2-40B4-BE49-F238E27FC236}">
                <a16:creationId xmlns:a16="http://schemas.microsoft.com/office/drawing/2014/main" id="{F42C4767-B148-4B2A-9488-A5D4AF90488B}"/>
              </a:ext>
            </a:extLst>
          </p:cNvPr>
          <p:cNvGraphicFramePr>
            <a:graphicFrameLocks noGrp="1"/>
          </p:cNvGraphicFramePr>
          <p:nvPr>
            <p:ph idx="1"/>
            <p:extLst>
              <p:ext uri="{D42A27DB-BD31-4B8C-83A1-F6EECF244321}">
                <p14:modId xmlns:p14="http://schemas.microsoft.com/office/powerpoint/2010/main" val="1647948603"/>
              </p:ext>
            </p:extLst>
          </p:nvPr>
        </p:nvGraphicFramePr>
        <p:xfrm>
          <a:off x="761999" y="1250421"/>
          <a:ext cx="10684933" cy="53859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4467165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5F5DE2-54B6-4C7B-84AA-D5BBFB1923B3}"/>
              </a:ext>
            </a:extLst>
          </p:cNvPr>
          <p:cNvSpPr>
            <a:spLocks noGrp="1"/>
          </p:cNvSpPr>
          <p:nvPr>
            <p:ph type="title"/>
          </p:nvPr>
        </p:nvSpPr>
        <p:spPr/>
        <p:txBody>
          <a:bodyPr/>
          <a:lstStyle/>
          <a:p>
            <a:r>
              <a:rPr lang="en-GB" dirty="0"/>
              <a:t>Synthesis: diabetes</a:t>
            </a:r>
          </a:p>
        </p:txBody>
      </p:sp>
      <p:graphicFrame>
        <p:nvGraphicFramePr>
          <p:cNvPr id="7" name="Content Placeholder 6" descr="SmartArt with text:&#10;telehealth (ie web-based programmes, interactive digital interventions, wearables)&#13;&#10;- can reduce hospital admissions by 4.1% and decrease BP by 3.74 mmHg (SBP) and 2.37 mmHg (DBP), approximately 3% and 3.4% respectively&#13;&#10;- mobile phone-based intervention showed significant improvement in HbA1c levels&#13;&#10;- wearable insoles reduced diabetic foot ulcer occurrence by 86%&#13;&#10;education-based (ie cognitive reframing, behaviour change)&#13;&#10;- patient education showed a statistically significant reduction in fasting blood glucose, and HbA1c&#13;&#10;- patient empowerment reduced glycated haemoglobin and increased diabetes empowerment and knowledge scores&#13;&#10;decision/ peer support (ie trained peer education, social media-based interventions)&#13;&#10;- pooled mean difference of 0.57% for HbA1c&#13;&#10;- interactive digital interventions show reduced SBP and better self-efficacy&#13;&#10;- patient education programmes produced a reduction in HbA1c">
            <a:extLst>
              <a:ext uri="{FF2B5EF4-FFF2-40B4-BE49-F238E27FC236}">
                <a16:creationId xmlns:a16="http://schemas.microsoft.com/office/drawing/2014/main" id="{7FC2FAB5-E6C1-40F3-AEE0-20CB9D5CDFB0}"/>
              </a:ext>
            </a:extLst>
          </p:cNvPr>
          <p:cNvGraphicFramePr>
            <a:graphicFrameLocks noGrp="1"/>
          </p:cNvGraphicFramePr>
          <p:nvPr>
            <p:ph idx="1"/>
            <p:extLst>
              <p:ext uri="{D42A27DB-BD31-4B8C-83A1-F6EECF244321}">
                <p14:modId xmlns:p14="http://schemas.microsoft.com/office/powerpoint/2010/main" val="3881045432"/>
              </p:ext>
            </p:extLst>
          </p:nvPr>
        </p:nvGraphicFramePr>
        <p:xfrm>
          <a:off x="838200" y="1803400"/>
          <a:ext cx="10515600" cy="46721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a:extLst>
              <a:ext uri="{FF2B5EF4-FFF2-40B4-BE49-F238E27FC236}">
                <a16:creationId xmlns:a16="http://schemas.microsoft.com/office/drawing/2014/main" id="{16EEE3FB-1DC1-4790-B1B4-8C264F8A3619}"/>
              </a:ext>
            </a:extLst>
          </p:cNvPr>
          <p:cNvSpPr>
            <a:spLocks noGrp="1"/>
          </p:cNvSpPr>
          <p:nvPr>
            <p:ph type="sldNum" sz="quarter" idx="12"/>
          </p:nvPr>
        </p:nvSpPr>
        <p:spPr/>
        <p:txBody>
          <a:bodyPr/>
          <a:lstStyle/>
          <a:p>
            <a:fld id="{6EC7C466-5A16-4023-AA09-946F295C46EC}" type="slidenum">
              <a:rPr lang="en-GB" smtClean="0"/>
              <a:t>8</a:t>
            </a:fld>
            <a:endParaRPr lang="en-GB"/>
          </a:p>
        </p:txBody>
      </p:sp>
    </p:spTree>
    <p:extLst>
      <p:ext uri="{BB962C8B-B14F-4D97-AF65-F5344CB8AC3E}">
        <p14:creationId xmlns:p14="http://schemas.microsoft.com/office/powerpoint/2010/main" val="30139125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5F5DE2-54B6-4C7B-84AA-D5BBFB1923B3}"/>
              </a:ext>
            </a:extLst>
          </p:cNvPr>
          <p:cNvSpPr>
            <a:spLocks noGrp="1"/>
          </p:cNvSpPr>
          <p:nvPr>
            <p:ph type="title"/>
          </p:nvPr>
        </p:nvSpPr>
        <p:spPr/>
        <p:txBody>
          <a:bodyPr/>
          <a:lstStyle/>
          <a:p>
            <a:r>
              <a:rPr lang="en-GB" dirty="0"/>
              <a:t>Synthesis: MSK</a:t>
            </a:r>
          </a:p>
        </p:txBody>
      </p:sp>
      <p:graphicFrame>
        <p:nvGraphicFramePr>
          <p:cNvPr id="5" name="Content Placeholder 4" descr="SmartArt with text:&#10;wearables&#13;&#10;- includes pedometers, smartwatches and intelligent insoles&#13;&#10;- evidence mixed save for Omron pedometer, which was associated with improved functional capacity in inflammatory arthritis&#13;&#10;decision-support tools&#13;&#10;- improved knowledge (p&lt;0.0001)&#13;&#10;- better understanding of personalised risk (p&lt;0.0001)&#13;&#10;- less decisional conflict and more empowerment from clinicians&#13;&#10;telehealth&#13;&#10;- reduced school absenteeism by 29%&#13;&#10;- reduction of pain intensity by 17.3%&#13;&#10;- fitbit increased walking by 183.1 min/week&#13;&#10;self-management education boosters with physical and psychological therapies&#13;&#10;- better pain management and less catastrophising (SMD (standardised mean difference) 20.42, 95% CI)&#13;&#10;- mean VAS (visual analogue score) for pain showed a reduction of 0.8 points&#13;&#10;digital-based SSM&#13;&#10;- showed a pain reduction of 5.7%&#13;&#10;- better than health education by 0.17 SDs (standard deviations)">
            <a:extLst>
              <a:ext uri="{FF2B5EF4-FFF2-40B4-BE49-F238E27FC236}">
                <a16:creationId xmlns:a16="http://schemas.microsoft.com/office/drawing/2014/main" id="{FB32CF09-BB86-4C75-8952-96A92FD93409}"/>
              </a:ext>
            </a:extLst>
          </p:cNvPr>
          <p:cNvGraphicFramePr>
            <a:graphicFrameLocks noGrp="1"/>
          </p:cNvGraphicFramePr>
          <p:nvPr>
            <p:ph idx="1"/>
            <p:extLst>
              <p:ext uri="{D42A27DB-BD31-4B8C-83A1-F6EECF244321}">
                <p14:modId xmlns:p14="http://schemas.microsoft.com/office/powerpoint/2010/main" val="3182541313"/>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a:extLst>
              <a:ext uri="{FF2B5EF4-FFF2-40B4-BE49-F238E27FC236}">
                <a16:creationId xmlns:a16="http://schemas.microsoft.com/office/drawing/2014/main" id="{16EEE3FB-1DC1-4790-B1B4-8C264F8A3619}"/>
              </a:ext>
            </a:extLst>
          </p:cNvPr>
          <p:cNvSpPr>
            <a:spLocks noGrp="1"/>
          </p:cNvSpPr>
          <p:nvPr>
            <p:ph type="sldNum" sz="quarter" idx="12"/>
          </p:nvPr>
        </p:nvSpPr>
        <p:spPr/>
        <p:txBody>
          <a:bodyPr/>
          <a:lstStyle/>
          <a:p>
            <a:fld id="{6EC7C466-5A16-4023-AA09-946F295C46EC}" type="slidenum">
              <a:rPr lang="en-GB" smtClean="0"/>
              <a:t>9</a:t>
            </a:fld>
            <a:endParaRPr lang="en-GB"/>
          </a:p>
        </p:txBody>
      </p:sp>
    </p:spTree>
    <p:extLst>
      <p:ext uri="{BB962C8B-B14F-4D97-AF65-F5344CB8AC3E}">
        <p14:creationId xmlns:p14="http://schemas.microsoft.com/office/powerpoint/2010/main" val="31325053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0s.8OYENHieggpQC.C3iQA"/>
</p:tagLst>
</file>

<file path=ppt/theme/theme1.xml><?xml version="1.0" encoding="utf-8"?>
<a:theme xmlns:a="http://schemas.openxmlformats.org/drawingml/2006/main" name="1_Office Them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E72267BDE2C9E45B5C9EF9D33C93315" ma:contentTypeVersion="16" ma:contentTypeDescription="Create a new document." ma:contentTypeScope="" ma:versionID="b4b0a93be95b3b397a5720f345360b40">
  <xsd:schema xmlns:xsd="http://www.w3.org/2001/XMLSchema" xmlns:xs="http://www.w3.org/2001/XMLSchema" xmlns:p="http://schemas.microsoft.com/office/2006/metadata/properties" xmlns:ns1="http://schemas.microsoft.com/sharepoint/v3" xmlns:ns2="ef7bdd55-892d-4fcf-94a5-71f074f666bb" xmlns:ns3="1443d123-f4a4-497a-be51-faf00b932328" targetNamespace="http://schemas.microsoft.com/office/2006/metadata/properties" ma:root="true" ma:fieldsID="7bdcb175b538cbf04bdc8de35993b4ce" ns1:_="" ns2:_="" ns3:_="">
    <xsd:import namespace="http://schemas.microsoft.com/sharepoint/v3"/>
    <xsd:import namespace="ef7bdd55-892d-4fcf-94a5-71f074f666bb"/>
    <xsd:import namespace="1443d123-f4a4-497a-be51-faf00b932328"/>
    <xsd:element name="properties">
      <xsd:complexType>
        <xsd:sequence>
          <xsd:element name="documentManagement">
            <xsd:complexType>
              <xsd:all>
                <xsd:element ref="ns2:MediaServiceMetadata" minOccurs="0"/>
                <xsd:element ref="ns2:MediaServiceFastMetadata" minOccurs="0"/>
                <xsd:element ref="ns1:_ip_UnifiedCompliancePolicyProperties" minOccurs="0"/>
                <xsd:element ref="ns1:_ip_UnifiedCompliancePolicyUIAction"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3:SharedWithUsers" minOccurs="0"/>
                <xsd:element ref="ns3:SharedWithDetail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f7bdd55-892d-4fcf-94a5-71f074f666b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2c8d5fda-b97d-42c6-97e2-f76465e161c0"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2"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443d123-f4a4-497a-be51-faf00b932328"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629f6645-eb3e-48d2-a6f7-c946b992af47}" ma:internalName="TaxCatchAll" ma:showField="CatchAllData" ma:web="1443d123-f4a4-497a-be51-faf00b932328">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TaxCatchAll xmlns="1443d123-f4a4-497a-be51-faf00b932328" xsi:nil="true"/>
    <lcf76f155ced4ddcb4097134ff3c332f xmlns="ef7bdd55-892d-4fcf-94a5-71f074f666bb">
      <Terms xmlns="http://schemas.microsoft.com/office/infopath/2007/PartnerControls"/>
    </lcf76f155ced4ddcb4097134ff3c332f>
    <_ip_UnifiedCompliancePolicyProperties xmlns="http://schemas.microsoft.com/sharepoint/v3" xsi:nil="true"/>
  </documentManagement>
</p:properties>
</file>

<file path=customXml/itemProps1.xml><?xml version="1.0" encoding="utf-8"?>
<ds:datastoreItem xmlns:ds="http://schemas.openxmlformats.org/officeDocument/2006/customXml" ds:itemID="{46A5DC6D-2F61-48C9-B605-5826A6DDD9C6}">
  <ds:schemaRefs>
    <ds:schemaRef ds:uri="http://schemas.microsoft.com/sharepoint/v3/contenttype/forms"/>
  </ds:schemaRefs>
</ds:datastoreItem>
</file>

<file path=customXml/itemProps2.xml><?xml version="1.0" encoding="utf-8"?>
<ds:datastoreItem xmlns:ds="http://schemas.openxmlformats.org/officeDocument/2006/customXml" ds:itemID="{741879E6-BCFD-4803-8C1C-8B7A7FAEE24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f7bdd55-892d-4fcf-94a5-71f074f666bb"/>
    <ds:schemaRef ds:uri="1443d123-f4a4-497a-be51-faf00b93232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011AF32-0774-4774-AF7E-99B1EDF36492}">
  <ds:schemaRefs>
    <ds:schemaRef ds:uri="http://purl.org/dc/dcmitype/"/>
    <ds:schemaRef ds:uri="http://schemas.microsoft.com/office/2006/documentManagement/types"/>
    <ds:schemaRef ds:uri="http://purl.org/dc/terms/"/>
    <ds:schemaRef ds:uri="http://purl.org/dc/elements/1.1/"/>
    <ds:schemaRef ds:uri="http://schemas.microsoft.com/office/infopath/2007/PartnerControls"/>
    <ds:schemaRef ds:uri="http://schemas.microsoft.com/sharepoint/v3"/>
    <ds:schemaRef ds:uri="http://schemas.openxmlformats.org/package/2006/metadata/core-properties"/>
    <ds:schemaRef ds:uri="ef7bdd55-892d-4fcf-94a5-71f074f666bb"/>
    <ds:schemaRef ds:uri="1443d123-f4a4-497a-be51-faf00b932328"/>
    <ds:schemaRef ds:uri="http://schemas.microsoft.com/office/2006/metadata/properties"/>
    <ds:schemaRef ds:uri="http://www.w3.org/XML/1998/namespace"/>
  </ds:schemaRefs>
</ds:datastoreItem>
</file>

<file path=docMetadata/LabelInfo.xml><?xml version="1.0" encoding="utf-8"?>
<clbl:labelList xmlns:clbl="http://schemas.microsoft.com/office/2020/mipLabelMetadata">
  <clbl:label id="{37c354b2-85b0-47f5-b222-07b48d774ee3}" enabled="0" method="" siteId="{37c354b2-85b0-47f5-b222-07b48d774ee3}" removed="1"/>
</clbl:labelList>
</file>

<file path=docProps/app.xml><?xml version="1.0" encoding="utf-8"?>
<Properties xmlns="http://schemas.openxmlformats.org/officeDocument/2006/extended-properties" xmlns:vt="http://schemas.openxmlformats.org/officeDocument/2006/docPropsVTypes">
  <TotalTime>7241</TotalTime>
  <Words>1312</Words>
  <Application>Microsoft Macintosh PowerPoint</Application>
  <PresentationFormat>Widescreen</PresentationFormat>
  <Paragraphs>171</Paragraphs>
  <Slides>12</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6" baseType="lpstr">
      <vt:lpstr>Arial</vt:lpstr>
      <vt:lpstr>Calibri</vt:lpstr>
      <vt:lpstr>1_Office Theme</vt:lpstr>
      <vt:lpstr>think-cell Slide</vt:lpstr>
      <vt:lpstr>Personalised Care Interventions Rapid Evidence Assessment Executive Summary </vt:lpstr>
      <vt:lpstr>Background</vt:lpstr>
      <vt:lpstr>The Brief</vt:lpstr>
      <vt:lpstr>Methodology</vt:lpstr>
      <vt:lpstr>Screening</vt:lpstr>
      <vt:lpstr>Review quality</vt:lpstr>
      <vt:lpstr>Headlines: Impact of PC interventions can be seen in 5 areas  </vt:lpstr>
      <vt:lpstr>Synthesis: diabetes</vt:lpstr>
      <vt:lpstr>Synthesis: MSK</vt:lpstr>
      <vt:lpstr>Synthesis: COPD</vt:lpstr>
      <vt:lpstr>Discussion: Findings v areas from the original brief:</vt:lpstr>
      <vt:lpstr>Conclusions and recommenda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gional Head Delivery Board Meeting</dc:title>
  <dc:creator>Gemma Robinson</dc:creator>
  <cp:lastModifiedBy>USHER, Adam (ROYAL FREE LONDON NHS FOUNDATION TRUST)</cp:lastModifiedBy>
  <cp:revision>17</cp:revision>
  <dcterms:created xsi:type="dcterms:W3CDTF">2022-06-30T11:29:46Z</dcterms:created>
  <dcterms:modified xsi:type="dcterms:W3CDTF">2023-04-06T11:09: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EED964003B16C4E80364D5EE6A5456E</vt:lpwstr>
  </property>
  <property fmtid="{D5CDD505-2E9C-101B-9397-08002B2CF9AE}" pid="3" name="MediaServiceImageTags">
    <vt:lpwstr/>
  </property>
</Properties>
</file>